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3" r:id="rId1"/>
  </p:sldMasterIdLst>
  <p:notesMasterIdLst>
    <p:notesMasterId r:id="rId15"/>
  </p:notesMasterIdLst>
  <p:handoutMasterIdLst>
    <p:handoutMasterId r:id="rId16"/>
  </p:handoutMasterIdLst>
  <p:sldIdLst>
    <p:sldId id="516" r:id="rId2"/>
    <p:sldId id="539" r:id="rId3"/>
    <p:sldId id="546" r:id="rId4"/>
    <p:sldId id="537" r:id="rId5"/>
    <p:sldId id="548" r:id="rId6"/>
    <p:sldId id="549" r:id="rId7"/>
    <p:sldId id="553" r:id="rId8"/>
    <p:sldId id="555" r:id="rId9"/>
    <p:sldId id="550" r:id="rId10"/>
    <p:sldId id="554" r:id="rId11"/>
    <p:sldId id="552" r:id="rId12"/>
    <p:sldId id="544" r:id="rId13"/>
    <p:sldId id="543" r:id="rId14"/>
  </p:sldIdLst>
  <p:sldSz cx="9906000" cy="6858000" type="A4"/>
  <p:notesSz cx="6797675" cy="9926638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orient="horz" pos="2409">
          <p15:clr>
            <a:srgbClr val="A4A3A4"/>
          </p15:clr>
        </p15:guide>
        <p15:guide id="4" orient="horz" pos="709">
          <p15:clr>
            <a:srgbClr val="A4A3A4"/>
          </p15:clr>
        </p15:guide>
        <p15:guide id="5" orient="horz" pos="4110">
          <p15:clr>
            <a:srgbClr val="A4A3A4"/>
          </p15:clr>
        </p15:guide>
        <p15:guide id="6" pos="172">
          <p15:clr>
            <a:srgbClr val="A4A3A4"/>
          </p15:clr>
        </p15:guide>
        <p15:guide id="7" pos="60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0000CD"/>
    <a:srgbClr val="195091"/>
    <a:srgbClr val="EAEAEA"/>
    <a:srgbClr val="92D050"/>
    <a:srgbClr val="FFFFFF"/>
    <a:srgbClr val="DDDDDD"/>
    <a:srgbClr val="000000"/>
    <a:srgbClr val="7EB9EA"/>
    <a:srgbClr val="66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EBC1157-2E65-40F4-B1C6-D1BE4EEFD271}" v="7" dt="2021-03-23T07:08:09.929"/>
    <p1510:client id="{22519D7F-FFDA-4A2F-8F4E-EB4E5DAB55A3}" v="8" dt="2021-04-21T12:26:28.987"/>
    <p1510:client id="{3B0C3C47-BCA8-4BFA-84D0-7C0638C88479}" v="3" dt="2021-04-21T13:18:34.670"/>
    <p1510:client id="{3F0ED7F2-A6D5-4B19-AEF8-308ADDC6C471}" v="8" dt="2021-03-23T07:04:16.271"/>
    <p1510:client id="{46BC3E3D-56EA-4209-9614-9E132FC278F5}" v="2" dt="2021-03-23T06:29:33.379"/>
    <p1510:client id="{6FDBE058-C4F5-4D27-9CEE-363FBF1CFC44}" v="3" dt="2021-03-23T07:05:04.384"/>
    <p1510:client id="{8E1038D4-4F3D-44F8-9F0F-8CB012FDA9BE}" v="322" dt="2021-04-21T13:05:04.462"/>
    <p1510:client id="{A15FDB74-BA15-48FF-826A-9CD431B47120}" v="6" dt="2021-05-03T09:01:32.714"/>
    <p1510:client id="{A7D28EA0-1E98-43CD-BF24-15541360159D}" v="13" dt="2021-03-23T09:51:04.099"/>
    <p1510:client id="{ACD31FCE-E7B2-407F-B98C-8ECECC50F482}" v="3" dt="2021-05-03T14:59:17.110"/>
    <p1510:client id="{C9BFB251-2C6F-4165-AB2F-63BD19365205}" v="23" dt="2021-05-04T11:07:57.133"/>
    <p1510:client id="{E26D1752-A179-401B-9CC7-0BBEDE3C3E48}" v="12" dt="2021-04-27T09:12:03.895"/>
    <p1510:client id="{E6B0930D-DDC5-49FD-88C2-C7D9B0979DDB}" v="35" dt="2021-05-04T09:25:09.773"/>
    <p1510:client id="{F15A95AC-F781-42B7-9899-FAA2B36E7C24}" v="506" dt="2021-04-21T12:55:50.101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56" d="100"/>
          <a:sy n="156" d="100"/>
        </p:scale>
        <p:origin x="1564" y="76"/>
      </p:cViewPr>
      <p:guideLst>
        <p:guide orient="horz" pos="2160"/>
        <p:guide pos="3120"/>
        <p:guide orient="horz" pos="2409"/>
        <p:guide orient="horz" pos="709"/>
        <p:guide orient="horz" pos="4110"/>
        <p:guide pos="172"/>
        <p:guide pos="606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neider, Maria-MGB" userId="S::maria.schneider@mgb.ch::75347b56-268d-4748-8c0c-25c7171b43e4" providerId="AD" clId="Web-{2CA01007-8A32-411C-9167-844768AAB2EB}"/>
    <pc:docChg chg="addSld delSld modSld sldOrd">
      <pc:chgData name="Schneider, Maria-MGB" userId="S::maria.schneider@mgb.ch::75347b56-268d-4748-8c0c-25c7171b43e4" providerId="AD" clId="Web-{2CA01007-8A32-411C-9167-844768AAB2EB}" dt="2021-03-10T15:01:50.842" v="844" actId="20577"/>
      <pc:docMkLst>
        <pc:docMk/>
      </pc:docMkLst>
      <pc:sldChg chg="addSp modSp">
        <pc:chgData name="Schneider, Maria-MGB" userId="S::maria.schneider@mgb.ch::75347b56-268d-4748-8c0c-25c7171b43e4" providerId="AD" clId="Web-{2CA01007-8A32-411C-9167-844768AAB2EB}" dt="2021-03-10T14:14:00.710" v="87"/>
        <pc:sldMkLst>
          <pc:docMk/>
          <pc:sldMk cId="1077379542" sldId="516"/>
        </pc:sldMkLst>
        <pc:picChg chg="add mod ord modCrop">
          <ac:chgData name="Schneider, Maria-MGB" userId="S::maria.schneider@mgb.ch::75347b56-268d-4748-8c0c-25c7171b43e4" providerId="AD" clId="Web-{2CA01007-8A32-411C-9167-844768AAB2EB}" dt="2021-03-10T14:14:00.710" v="87"/>
          <ac:picMkLst>
            <pc:docMk/>
            <pc:sldMk cId="1077379542" sldId="516"/>
            <ac:picMk id="2" creationId="{6883E6BB-8172-455B-9271-FDAC8BD21D99}"/>
          </ac:picMkLst>
        </pc:picChg>
      </pc:sldChg>
      <pc:sldChg chg="addSp delSp modSp">
        <pc:chgData name="Schneider, Maria-MGB" userId="S::maria.schneider@mgb.ch::75347b56-268d-4748-8c0c-25c7171b43e4" providerId="AD" clId="Web-{2CA01007-8A32-411C-9167-844768AAB2EB}" dt="2021-03-10T14:49:12.559" v="543" actId="20577"/>
        <pc:sldMkLst>
          <pc:docMk/>
          <pc:sldMk cId="490709109" sldId="537"/>
        </pc:sldMkLst>
        <pc:spChg chg="add del mod">
          <ac:chgData name="Schneider, Maria-MGB" userId="S::maria.schneider@mgb.ch::75347b56-268d-4748-8c0c-25c7171b43e4" providerId="AD" clId="Web-{2CA01007-8A32-411C-9167-844768AAB2EB}" dt="2021-03-10T14:48:22.528" v="535"/>
          <ac:spMkLst>
            <pc:docMk/>
            <pc:sldMk cId="490709109" sldId="537"/>
            <ac:spMk id="7" creationId="{A2C96E10-A302-43A5-B3A9-26B228BC9D76}"/>
          </ac:spMkLst>
        </pc:spChg>
        <pc:spChg chg="add del mod">
          <ac:chgData name="Schneider, Maria-MGB" userId="S::maria.schneider@mgb.ch::75347b56-268d-4748-8c0c-25c7171b43e4" providerId="AD" clId="Web-{2CA01007-8A32-411C-9167-844768AAB2EB}" dt="2021-03-10T14:47:29.590" v="462"/>
          <ac:spMkLst>
            <pc:docMk/>
            <pc:sldMk cId="490709109" sldId="537"/>
            <ac:spMk id="8" creationId="{A77E9E7D-5C33-4B00-B97F-7D492F2DF0FA}"/>
          </ac:spMkLst>
        </pc:spChg>
        <pc:spChg chg="add mod">
          <ac:chgData name="Schneider, Maria-MGB" userId="S::maria.schneider@mgb.ch::75347b56-268d-4748-8c0c-25c7171b43e4" providerId="AD" clId="Web-{2CA01007-8A32-411C-9167-844768AAB2EB}" dt="2021-03-10T14:48:10.231" v="533" actId="20577"/>
          <ac:spMkLst>
            <pc:docMk/>
            <pc:sldMk cId="490709109" sldId="537"/>
            <ac:spMk id="9" creationId="{7DA781C0-A15A-48F4-88CD-791B45655B78}"/>
          </ac:spMkLst>
        </pc:spChg>
        <pc:spChg chg="mod">
          <ac:chgData name="Schneider, Maria-MGB" userId="S::maria.schneider@mgb.ch::75347b56-268d-4748-8c0c-25c7171b43e4" providerId="AD" clId="Web-{2CA01007-8A32-411C-9167-844768AAB2EB}" dt="2021-03-10T14:49:12.559" v="543" actId="20577"/>
          <ac:spMkLst>
            <pc:docMk/>
            <pc:sldMk cId="490709109" sldId="537"/>
            <ac:spMk id="78" creationId="{00000000-0000-0000-0000-000000000000}"/>
          </ac:spMkLst>
        </pc:spChg>
        <pc:spChg chg="mod">
          <ac:chgData name="Schneider, Maria-MGB" userId="S::maria.schneider@mgb.ch::75347b56-268d-4748-8c0c-25c7171b43e4" providerId="AD" clId="Web-{2CA01007-8A32-411C-9167-844768AAB2EB}" dt="2021-03-10T14:47:59.418" v="500" actId="20577"/>
          <ac:spMkLst>
            <pc:docMk/>
            <pc:sldMk cId="490709109" sldId="537"/>
            <ac:spMk id="79" creationId="{00000000-0000-0000-0000-000000000000}"/>
          </ac:spMkLst>
        </pc:spChg>
        <pc:picChg chg="mod modCrop">
          <ac:chgData name="Schneider, Maria-MGB" userId="S::maria.schneider@mgb.ch::75347b56-268d-4748-8c0c-25c7171b43e4" providerId="AD" clId="Web-{2CA01007-8A32-411C-9167-844768AAB2EB}" dt="2021-03-10T13:54:37.567" v="42"/>
          <ac:picMkLst>
            <pc:docMk/>
            <pc:sldMk cId="490709109" sldId="537"/>
            <ac:picMk id="6" creationId="{14165034-A3F1-4BAF-ADDA-DA975518394F}"/>
          </ac:picMkLst>
        </pc:picChg>
      </pc:sldChg>
      <pc:sldChg chg="modSp">
        <pc:chgData name="Schneider, Maria-MGB" userId="S::maria.schneider@mgb.ch::75347b56-268d-4748-8c0c-25c7171b43e4" providerId="AD" clId="Web-{2CA01007-8A32-411C-9167-844768AAB2EB}" dt="2021-03-10T14:50:30.669" v="557"/>
        <pc:sldMkLst>
          <pc:docMk/>
          <pc:sldMk cId="115928287" sldId="539"/>
        </pc:sldMkLst>
        <pc:graphicFrameChg chg="mod modGraphic">
          <ac:chgData name="Schneider, Maria-MGB" userId="S::maria.schneider@mgb.ch::75347b56-268d-4748-8c0c-25c7171b43e4" providerId="AD" clId="Web-{2CA01007-8A32-411C-9167-844768AAB2EB}" dt="2021-03-10T14:50:30.669" v="557"/>
          <ac:graphicFrameMkLst>
            <pc:docMk/>
            <pc:sldMk cId="115928287" sldId="539"/>
            <ac:graphicFrameMk id="7" creationId="{00000000-0000-0000-0000-000000000000}"/>
          </ac:graphicFrameMkLst>
        </pc:graphicFrameChg>
      </pc:sldChg>
      <pc:sldChg chg="delSp modSp">
        <pc:chgData name="Schneider, Maria-MGB" userId="S::maria.schneider@mgb.ch::75347b56-268d-4748-8c0c-25c7171b43e4" providerId="AD" clId="Web-{2CA01007-8A32-411C-9167-844768AAB2EB}" dt="2021-03-10T14:54:53.888" v="674" actId="20577"/>
        <pc:sldMkLst>
          <pc:docMk/>
          <pc:sldMk cId="2544092619" sldId="540"/>
        </pc:sldMkLst>
        <pc:spChg chg="mod">
          <ac:chgData name="Schneider, Maria-MGB" userId="S::maria.schneider@mgb.ch::75347b56-268d-4748-8c0c-25c7171b43e4" providerId="AD" clId="Web-{2CA01007-8A32-411C-9167-844768AAB2EB}" dt="2021-03-10T14:54:53.888" v="674" actId="20577"/>
          <ac:spMkLst>
            <pc:docMk/>
            <pc:sldMk cId="2544092619" sldId="540"/>
            <ac:spMk id="78" creationId="{00000000-0000-0000-0000-000000000000}"/>
          </ac:spMkLst>
        </pc:spChg>
        <pc:spChg chg="mod">
          <ac:chgData name="Schneider, Maria-MGB" userId="S::maria.schneider@mgb.ch::75347b56-268d-4748-8c0c-25c7171b43e4" providerId="AD" clId="Web-{2CA01007-8A32-411C-9167-844768AAB2EB}" dt="2021-03-10T13:56:51.817" v="63" actId="20577"/>
          <ac:spMkLst>
            <pc:docMk/>
            <pc:sldMk cId="2544092619" sldId="540"/>
            <ac:spMk id="79" creationId="{00000000-0000-0000-0000-000000000000}"/>
          </ac:spMkLst>
        </pc:spChg>
        <pc:picChg chg="mod">
          <ac:chgData name="Schneider, Maria-MGB" userId="S::maria.schneider@mgb.ch::75347b56-268d-4748-8c0c-25c7171b43e4" providerId="AD" clId="Web-{2CA01007-8A32-411C-9167-844768AAB2EB}" dt="2021-03-10T14:52:39.638" v="604" actId="14100"/>
          <ac:picMkLst>
            <pc:docMk/>
            <pc:sldMk cId="2544092619" sldId="540"/>
            <ac:picMk id="5" creationId="{8365D584-0766-462A-8085-28B5E7106777}"/>
          </ac:picMkLst>
        </pc:picChg>
        <pc:picChg chg="del">
          <ac:chgData name="Schneider, Maria-MGB" userId="S::maria.schneider@mgb.ch::75347b56-268d-4748-8c0c-25c7171b43e4" providerId="AD" clId="Web-{2CA01007-8A32-411C-9167-844768AAB2EB}" dt="2021-03-10T13:53:56.973" v="40"/>
          <ac:picMkLst>
            <pc:docMk/>
            <pc:sldMk cId="2544092619" sldId="540"/>
            <ac:picMk id="6" creationId="{14165034-A3F1-4BAF-ADDA-DA975518394F}"/>
          </ac:picMkLst>
        </pc:picChg>
        <pc:picChg chg="mod modCrop">
          <ac:chgData name="Schneider, Maria-MGB" userId="S::maria.schneider@mgb.ch::75347b56-268d-4748-8c0c-25c7171b43e4" providerId="AD" clId="Web-{2CA01007-8A32-411C-9167-844768AAB2EB}" dt="2021-03-10T14:52:39.638" v="603" actId="14100"/>
          <ac:picMkLst>
            <pc:docMk/>
            <pc:sldMk cId="2544092619" sldId="540"/>
            <ac:picMk id="7" creationId="{E696E632-A3C1-4D60-AF03-C85638BAFC13}"/>
          </ac:picMkLst>
        </pc:picChg>
      </pc:sldChg>
      <pc:sldChg chg="modSp">
        <pc:chgData name="Schneider, Maria-MGB" userId="S::maria.schneider@mgb.ch::75347b56-268d-4748-8c0c-25c7171b43e4" providerId="AD" clId="Web-{2CA01007-8A32-411C-9167-844768AAB2EB}" dt="2021-03-10T14:31:44.572" v="339" actId="14100"/>
        <pc:sldMkLst>
          <pc:docMk/>
          <pc:sldMk cId="3023056854" sldId="541"/>
        </pc:sldMkLst>
        <pc:spChg chg="mod">
          <ac:chgData name="Schneider, Maria-MGB" userId="S::maria.schneider@mgb.ch::75347b56-268d-4748-8c0c-25c7171b43e4" providerId="AD" clId="Web-{2CA01007-8A32-411C-9167-844768AAB2EB}" dt="2021-03-10T14:31:39.010" v="338" actId="20577"/>
          <ac:spMkLst>
            <pc:docMk/>
            <pc:sldMk cId="3023056854" sldId="541"/>
            <ac:spMk id="78" creationId="{00000000-0000-0000-0000-000000000000}"/>
          </ac:spMkLst>
        </pc:spChg>
        <pc:picChg chg="mod">
          <ac:chgData name="Schneider, Maria-MGB" userId="S::maria.schneider@mgb.ch::75347b56-268d-4748-8c0c-25c7171b43e4" providerId="AD" clId="Web-{2CA01007-8A32-411C-9167-844768AAB2EB}" dt="2021-03-10T14:31:44.572" v="339" actId="14100"/>
          <ac:picMkLst>
            <pc:docMk/>
            <pc:sldMk cId="3023056854" sldId="541"/>
            <ac:picMk id="5" creationId="{9D3EF03E-94E0-4921-8557-56D49759399D}"/>
          </ac:picMkLst>
        </pc:picChg>
      </pc:sldChg>
      <pc:sldChg chg="addSp delSp modSp">
        <pc:chgData name="Schneider, Maria-MGB" userId="S::maria.schneider@mgb.ch::75347b56-268d-4748-8c0c-25c7171b43e4" providerId="AD" clId="Web-{2CA01007-8A32-411C-9167-844768AAB2EB}" dt="2021-03-10T14:39:23.683" v="402" actId="14100"/>
        <pc:sldMkLst>
          <pc:docMk/>
          <pc:sldMk cId="1825493358" sldId="542"/>
        </pc:sldMkLst>
        <pc:spChg chg="mod">
          <ac:chgData name="Schneider, Maria-MGB" userId="S::maria.schneider@mgb.ch::75347b56-268d-4748-8c0c-25c7171b43e4" providerId="AD" clId="Web-{2CA01007-8A32-411C-9167-844768AAB2EB}" dt="2021-03-10T14:39:18.636" v="401" actId="14100"/>
          <ac:spMkLst>
            <pc:docMk/>
            <pc:sldMk cId="1825493358" sldId="542"/>
            <ac:spMk id="10" creationId="{76809720-7D7E-4F0B-92B6-18906686F7A7}"/>
          </ac:spMkLst>
        </pc:spChg>
        <pc:spChg chg="add mod">
          <ac:chgData name="Schneider, Maria-MGB" userId="S::maria.schneider@mgb.ch::75347b56-268d-4748-8c0c-25c7171b43e4" providerId="AD" clId="Web-{2CA01007-8A32-411C-9167-844768AAB2EB}" dt="2021-03-10T14:36:20.292" v="378" actId="20577"/>
          <ac:spMkLst>
            <pc:docMk/>
            <pc:sldMk cId="1825493358" sldId="542"/>
            <ac:spMk id="12" creationId="{8E0E3807-313E-4F81-A305-DA7D8A1B16E0}"/>
          </ac:spMkLst>
        </pc:spChg>
        <pc:spChg chg="add mod">
          <ac:chgData name="Schneider, Maria-MGB" userId="S::maria.schneider@mgb.ch::75347b56-268d-4748-8c0c-25c7171b43e4" providerId="AD" clId="Web-{2CA01007-8A32-411C-9167-844768AAB2EB}" dt="2021-03-10T14:38:52.839" v="398"/>
          <ac:spMkLst>
            <pc:docMk/>
            <pc:sldMk cId="1825493358" sldId="542"/>
            <ac:spMk id="13" creationId="{2C639DC7-C38B-4B46-BCA9-337C6D196F5B}"/>
          </ac:spMkLst>
        </pc:spChg>
        <pc:spChg chg="mod">
          <ac:chgData name="Schneider, Maria-MGB" userId="S::maria.schneider@mgb.ch::75347b56-268d-4748-8c0c-25c7171b43e4" providerId="AD" clId="Web-{2CA01007-8A32-411C-9167-844768AAB2EB}" dt="2021-03-10T14:39:23.683" v="402" actId="14100"/>
          <ac:spMkLst>
            <pc:docMk/>
            <pc:sldMk cId="1825493358" sldId="542"/>
            <ac:spMk id="84" creationId="{FF6EE600-6156-4EFA-BF8B-6D7EBC0B6A2D}"/>
          </ac:spMkLst>
        </pc:spChg>
        <pc:graphicFrameChg chg="add del mod modGraphic">
          <ac:chgData name="Schneider, Maria-MGB" userId="S::maria.schneider@mgb.ch::75347b56-268d-4748-8c0c-25c7171b43e4" providerId="AD" clId="Web-{2CA01007-8A32-411C-9167-844768AAB2EB}" dt="2021-03-10T14:28:28.806" v="318"/>
          <ac:graphicFrameMkLst>
            <pc:docMk/>
            <pc:sldMk cId="1825493358" sldId="542"/>
            <ac:graphicFrameMk id="6" creationId="{735C834E-BD9F-4549-AD54-3DDBD2FAA7FD}"/>
          </ac:graphicFrameMkLst>
        </pc:graphicFrameChg>
        <pc:picChg chg="add mod">
          <ac:chgData name="Schneider, Maria-MGB" userId="S::maria.schneider@mgb.ch::75347b56-268d-4748-8c0c-25c7171b43e4" providerId="AD" clId="Web-{2CA01007-8A32-411C-9167-844768AAB2EB}" dt="2021-03-10T14:37:16.948" v="381" actId="1076"/>
          <ac:picMkLst>
            <pc:docMk/>
            <pc:sldMk cId="1825493358" sldId="542"/>
            <ac:picMk id="8" creationId="{D5C31A62-D51B-44C1-93D2-C086A8102920}"/>
          </ac:picMkLst>
        </pc:picChg>
        <pc:picChg chg="add mod">
          <ac:chgData name="Schneider, Maria-MGB" userId="S::maria.schneider@mgb.ch::75347b56-268d-4748-8c0c-25c7171b43e4" providerId="AD" clId="Web-{2CA01007-8A32-411C-9167-844768AAB2EB}" dt="2021-03-10T14:35:03.885" v="350" actId="1076"/>
          <ac:picMkLst>
            <pc:docMk/>
            <pc:sldMk cId="1825493358" sldId="542"/>
            <ac:picMk id="11" creationId="{8B2AC0B4-32BB-4492-A896-15829AA61F1E}"/>
          </ac:picMkLst>
        </pc:picChg>
      </pc:sldChg>
      <pc:sldChg chg="delSp modSp add ord replId">
        <pc:chgData name="Schneider, Maria-MGB" userId="S::maria.schneider@mgb.ch::75347b56-268d-4748-8c0c-25c7171b43e4" providerId="AD" clId="Web-{2CA01007-8A32-411C-9167-844768AAB2EB}" dt="2021-03-10T14:24:53.290" v="276" actId="20577"/>
        <pc:sldMkLst>
          <pc:docMk/>
          <pc:sldMk cId="2978036004" sldId="543"/>
        </pc:sldMkLst>
        <pc:spChg chg="mod">
          <ac:chgData name="Schneider, Maria-MGB" userId="S::maria.schneider@mgb.ch::75347b56-268d-4748-8c0c-25c7171b43e4" providerId="AD" clId="Web-{2CA01007-8A32-411C-9167-844768AAB2EB}" dt="2021-03-10T14:15:07.507" v="90" actId="20577"/>
          <ac:spMkLst>
            <pc:docMk/>
            <pc:sldMk cId="2978036004" sldId="543"/>
            <ac:spMk id="77" creationId="{00000000-0000-0000-0000-000000000000}"/>
          </ac:spMkLst>
        </pc:spChg>
        <pc:spChg chg="mod">
          <ac:chgData name="Schneider, Maria-MGB" userId="S::maria.schneider@mgb.ch::75347b56-268d-4748-8c0c-25c7171b43e4" providerId="AD" clId="Web-{2CA01007-8A32-411C-9167-844768AAB2EB}" dt="2021-03-10T14:24:53.290" v="276" actId="20577"/>
          <ac:spMkLst>
            <pc:docMk/>
            <pc:sldMk cId="2978036004" sldId="543"/>
            <ac:spMk id="78" creationId="{00000000-0000-0000-0000-000000000000}"/>
          </ac:spMkLst>
        </pc:spChg>
        <pc:spChg chg="mod">
          <ac:chgData name="Schneider, Maria-MGB" userId="S::maria.schneider@mgb.ch::75347b56-268d-4748-8c0c-25c7171b43e4" providerId="AD" clId="Web-{2CA01007-8A32-411C-9167-844768AAB2EB}" dt="2021-03-10T14:15:18.726" v="102" actId="20577"/>
          <ac:spMkLst>
            <pc:docMk/>
            <pc:sldMk cId="2978036004" sldId="543"/>
            <ac:spMk id="79" creationId="{00000000-0000-0000-0000-000000000000}"/>
          </ac:spMkLst>
        </pc:spChg>
        <pc:picChg chg="del">
          <ac:chgData name="Schneider, Maria-MGB" userId="S::maria.schneider@mgb.ch::75347b56-268d-4748-8c0c-25c7171b43e4" providerId="AD" clId="Web-{2CA01007-8A32-411C-9167-844768AAB2EB}" dt="2021-03-10T14:15:21.898" v="103"/>
          <ac:picMkLst>
            <pc:docMk/>
            <pc:sldMk cId="2978036004" sldId="543"/>
            <ac:picMk id="5" creationId="{9D3EF03E-94E0-4921-8557-56D49759399D}"/>
          </ac:picMkLst>
        </pc:picChg>
      </pc:sldChg>
      <pc:sldChg chg="modSp">
        <pc:chgData name="Schneider, Maria-MGB" userId="S::maria.schneider@mgb.ch::75347b56-268d-4748-8c0c-25c7171b43e4" providerId="AD" clId="Web-{2CA01007-8A32-411C-9167-844768AAB2EB}" dt="2021-03-10T15:01:50.842" v="844" actId="20577"/>
        <pc:sldMkLst>
          <pc:docMk/>
          <pc:sldMk cId="911784802" sldId="545"/>
        </pc:sldMkLst>
        <pc:spChg chg="mod">
          <ac:chgData name="Schneider, Maria-MGB" userId="S::maria.schneider@mgb.ch::75347b56-268d-4748-8c0c-25c7171b43e4" providerId="AD" clId="Web-{2CA01007-8A32-411C-9167-844768AAB2EB}" dt="2021-03-10T15:01:50.842" v="844" actId="20577"/>
          <ac:spMkLst>
            <pc:docMk/>
            <pc:sldMk cId="911784802" sldId="545"/>
            <ac:spMk id="78" creationId="{00000000-0000-0000-0000-000000000000}"/>
          </ac:spMkLst>
        </pc:spChg>
      </pc:sldChg>
      <pc:sldChg chg="delSp modSp add del replId">
        <pc:chgData name="Schneider, Maria-MGB" userId="S::maria.schneider@mgb.ch::75347b56-268d-4748-8c0c-25c7171b43e4" providerId="AD" clId="Web-{2CA01007-8A32-411C-9167-844768AAB2EB}" dt="2021-03-10T14:42:58.902" v="419"/>
        <pc:sldMkLst>
          <pc:docMk/>
          <pc:sldMk cId="944774932" sldId="546"/>
        </pc:sldMkLst>
        <pc:spChg chg="mod">
          <ac:chgData name="Schneider, Maria-MGB" userId="S::maria.schneider@mgb.ch::75347b56-268d-4748-8c0c-25c7171b43e4" providerId="AD" clId="Web-{2CA01007-8A32-411C-9167-844768AAB2EB}" dt="2021-03-10T14:42:56.168" v="418" actId="20577"/>
          <ac:spMkLst>
            <pc:docMk/>
            <pc:sldMk cId="944774932" sldId="546"/>
            <ac:spMk id="78" creationId="{00000000-0000-0000-0000-000000000000}"/>
          </ac:spMkLst>
        </pc:spChg>
        <pc:picChg chg="del">
          <ac:chgData name="Schneider, Maria-MGB" userId="S::maria.schneider@mgb.ch::75347b56-268d-4748-8c0c-25c7171b43e4" providerId="AD" clId="Web-{2CA01007-8A32-411C-9167-844768AAB2EB}" dt="2021-03-10T14:42:41.605" v="404"/>
          <ac:picMkLst>
            <pc:docMk/>
            <pc:sldMk cId="944774932" sldId="546"/>
            <ac:picMk id="6" creationId="{14165034-A3F1-4BAF-ADDA-DA975518394F}"/>
          </ac:picMkLst>
        </pc:picChg>
      </pc:sldChg>
      <pc:sldChg chg="addSp delSp modSp add replId">
        <pc:chgData name="Schneider, Maria-MGB" userId="S::maria.schneider@mgb.ch::75347b56-268d-4748-8c0c-25c7171b43e4" providerId="AD" clId="Web-{2CA01007-8A32-411C-9167-844768AAB2EB}" dt="2021-03-10T14:43:27.527" v="429" actId="1076"/>
        <pc:sldMkLst>
          <pc:docMk/>
          <pc:sldMk cId="4161403582" sldId="546"/>
        </pc:sldMkLst>
        <pc:spChg chg="add del mod">
          <ac:chgData name="Schneider, Maria-MGB" userId="S::maria.schneider@mgb.ch::75347b56-268d-4748-8c0c-25c7171b43e4" providerId="AD" clId="Web-{2CA01007-8A32-411C-9167-844768AAB2EB}" dt="2021-03-10T14:43:18.277" v="427"/>
          <ac:spMkLst>
            <pc:docMk/>
            <pc:sldMk cId="4161403582" sldId="546"/>
            <ac:spMk id="8" creationId="{F4C5AF42-3F84-45D3-8F31-FEC56C15B96D}"/>
          </ac:spMkLst>
        </pc:spChg>
        <pc:spChg chg="del">
          <ac:chgData name="Schneider, Maria-MGB" userId="S::maria.schneider@mgb.ch::75347b56-268d-4748-8c0c-25c7171b43e4" providerId="AD" clId="Web-{2CA01007-8A32-411C-9167-844768AAB2EB}" dt="2021-03-10T14:43:14.886" v="426"/>
          <ac:spMkLst>
            <pc:docMk/>
            <pc:sldMk cId="4161403582" sldId="546"/>
            <ac:spMk id="78" creationId="{00000000-0000-0000-0000-000000000000}"/>
          </ac:spMkLst>
        </pc:spChg>
        <pc:spChg chg="mod">
          <ac:chgData name="Schneider, Maria-MGB" userId="S::maria.schneider@mgb.ch::75347b56-268d-4748-8c0c-25c7171b43e4" providerId="AD" clId="Web-{2CA01007-8A32-411C-9167-844768AAB2EB}" dt="2021-03-10T14:43:07.715" v="425" actId="20577"/>
          <ac:spMkLst>
            <pc:docMk/>
            <pc:sldMk cId="4161403582" sldId="546"/>
            <ac:spMk id="79" creationId="{00000000-0000-0000-0000-000000000000}"/>
          </ac:spMkLst>
        </pc:spChg>
        <pc:picChg chg="del">
          <ac:chgData name="Schneider, Maria-MGB" userId="S::maria.schneider@mgb.ch::75347b56-268d-4748-8c0c-25c7171b43e4" providerId="AD" clId="Web-{2CA01007-8A32-411C-9167-844768AAB2EB}" dt="2021-03-10T14:43:03.480" v="421"/>
          <ac:picMkLst>
            <pc:docMk/>
            <pc:sldMk cId="4161403582" sldId="546"/>
            <ac:picMk id="5" creationId="{11864D67-E521-47D9-B294-D288AB9C6EA5}"/>
          </ac:picMkLst>
        </pc:picChg>
        <pc:picChg chg="mod">
          <ac:chgData name="Schneider, Maria-MGB" userId="S::maria.schneider@mgb.ch::75347b56-268d-4748-8c0c-25c7171b43e4" providerId="AD" clId="Web-{2CA01007-8A32-411C-9167-844768AAB2EB}" dt="2021-03-10T14:43:27.527" v="429" actId="1076"/>
          <ac:picMkLst>
            <pc:docMk/>
            <pc:sldMk cId="4161403582" sldId="546"/>
            <ac:picMk id="6" creationId="{14165034-A3F1-4BAF-ADDA-DA975518394F}"/>
          </ac:picMkLst>
        </pc:picChg>
      </pc:sldChg>
    </pc:docChg>
  </pc:docChgLst>
  <pc:docChgLst>
    <pc:chgData name="Schneider, Maria-MGB" userId="S::maria.schneider@mgb.ch::75347b56-268d-4748-8c0c-25c7171b43e4" providerId="AD" clId="Web-{3F0ED7F2-A6D5-4B19-AEF8-308ADDC6C471}"/>
    <pc:docChg chg="modSld">
      <pc:chgData name="Schneider, Maria-MGB" userId="S::maria.schneider@mgb.ch::75347b56-268d-4748-8c0c-25c7171b43e4" providerId="AD" clId="Web-{3F0ED7F2-A6D5-4B19-AEF8-308ADDC6C471}" dt="2021-03-23T07:04:16.271" v="7" actId="20577"/>
      <pc:docMkLst>
        <pc:docMk/>
      </pc:docMkLst>
      <pc:sldChg chg="modSp">
        <pc:chgData name="Schneider, Maria-MGB" userId="S::maria.schneider@mgb.ch::75347b56-268d-4748-8c0c-25c7171b43e4" providerId="AD" clId="Web-{3F0ED7F2-A6D5-4B19-AEF8-308ADDC6C471}" dt="2021-03-23T07:04:16.271" v="7" actId="20577"/>
        <pc:sldMkLst>
          <pc:docMk/>
          <pc:sldMk cId="3023056854" sldId="541"/>
        </pc:sldMkLst>
        <pc:spChg chg="mod">
          <ac:chgData name="Schneider, Maria-MGB" userId="S::maria.schneider@mgb.ch::75347b56-268d-4748-8c0c-25c7171b43e4" providerId="AD" clId="Web-{3F0ED7F2-A6D5-4B19-AEF8-308ADDC6C471}" dt="2021-03-23T07:04:16.271" v="7" actId="20577"/>
          <ac:spMkLst>
            <pc:docMk/>
            <pc:sldMk cId="3023056854" sldId="541"/>
            <ac:spMk id="78" creationId="{00000000-0000-0000-0000-000000000000}"/>
          </ac:spMkLst>
        </pc:spChg>
      </pc:sldChg>
    </pc:docChg>
  </pc:docChgLst>
  <pc:docChgLst>
    <pc:chgData name="Schneider, Maria-MGB" userId="S::maria.schneider@mgb.ch::75347b56-268d-4748-8c0c-25c7171b43e4" providerId="AD" clId="Web-{46BC3E3D-56EA-4209-9614-9E132FC278F5}"/>
    <pc:docChg chg="modSld">
      <pc:chgData name="Schneider, Maria-MGB" userId="S::maria.schneider@mgb.ch::75347b56-268d-4748-8c0c-25c7171b43e4" providerId="AD" clId="Web-{46BC3E3D-56EA-4209-9614-9E132FC278F5}" dt="2021-03-23T06:29:33.379" v="1" actId="20577"/>
      <pc:docMkLst>
        <pc:docMk/>
      </pc:docMkLst>
      <pc:sldChg chg="modSp">
        <pc:chgData name="Schneider, Maria-MGB" userId="S::maria.schneider@mgb.ch::75347b56-268d-4748-8c0c-25c7171b43e4" providerId="AD" clId="Web-{46BC3E3D-56EA-4209-9614-9E132FC278F5}" dt="2021-03-23T06:29:33.379" v="1" actId="20577"/>
        <pc:sldMkLst>
          <pc:docMk/>
          <pc:sldMk cId="911784802" sldId="545"/>
        </pc:sldMkLst>
        <pc:spChg chg="mod">
          <ac:chgData name="Schneider, Maria-MGB" userId="S::maria.schneider@mgb.ch::75347b56-268d-4748-8c0c-25c7171b43e4" providerId="AD" clId="Web-{46BC3E3D-56EA-4209-9614-9E132FC278F5}" dt="2021-03-23T06:29:33.379" v="1" actId="20577"/>
          <ac:spMkLst>
            <pc:docMk/>
            <pc:sldMk cId="911784802" sldId="545"/>
            <ac:spMk id="78" creationId="{00000000-0000-0000-0000-000000000000}"/>
          </ac:spMkLst>
        </pc:spChg>
      </pc:sldChg>
    </pc:docChg>
  </pc:docChgLst>
  <pc:docChgLst>
    <pc:chgData name="Berger, Valentin-MGB" userId="S::valentin.berger@mgb.ch::af54b3ce-296a-4c5c-b791-3a7b97f92b2e" providerId="AD" clId="Web-{CBE7BFD7-71D1-4482-B782-8365649F5FBE}"/>
    <pc:docChg chg="addSld modSld">
      <pc:chgData name="Berger, Valentin-MGB" userId="S::valentin.berger@mgb.ch::af54b3ce-296a-4c5c-b791-3a7b97f92b2e" providerId="AD" clId="Web-{CBE7BFD7-71D1-4482-B782-8365649F5FBE}" dt="2021-03-10T13:52:59.345" v="71"/>
      <pc:docMkLst>
        <pc:docMk/>
      </pc:docMkLst>
      <pc:sldChg chg="modSp">
        <pc:chgData name="Berger, Valentin-MGB" userId="S::valentin.berger@mgb.ch::af54b3ce-296a-4c5c-b791-3a7b97f92b2e" providerId="AD" clId="Web-{CBE7BFD7-71D1-4482-B782-8365649F5FBE}" dt="2021-03-10T13:28:32.510" v="24" actId="1076"/>
        <pc:sldMkLst>
          <pc:docMk/>
          <pc:sldMk cId="1077379542" sldId="516"/>
        </pc:sldMkLst>
        <pc:spChg chg="mod">
          <ac:chgData name="Berger, Valentin-MGB" userId="S::valentin.berger@mgb.ch::af54b3ce-296a-4c5c-b791-3a7b97f92b2e" providerId="AD" clId="Web-{CBE7BFD7-71D1-4482-B782-8365649F5FBE}" dt="2021-03-10T13:28:32.510" v="24" actId="1076"/>
          <ac:spMkLst>
            <pc:docMk/>
            <pc:sldMk cId="1077379542" sldId="516"/>
            <ac:spMk id="21" creationId="{00000000-0000-0000-0000-000000000000}"/>
          </ac:spMkLst>
        </pc:spChg>
      </pc:sldChg>
      <pc:sldChg chg="addSp modSp">
        <pc:chgData name="Berger, Valentin-MGB" userId="S::valentin.berger@mgb.ch::af54b3ce-296a-4c5c-b791-3a7b97f92b2e" providerId="AD" clId="Web-{CBE7BFD7-71D1-4482-B782-8365649F5FBE}" dt="2021-03-10T13:34:37.605" v="46" actId="20577"/>
        <pc:sldMkLst>
          <pc:docMk/>
          <pc:sldMk cId="490709109" sldId="537"/>
        </pc:sldMkLst>
        <pc:spChg chg="add mod">
          <ac:chgData name="Berger, Valentin-MGB" userId="S::valentin.berger@mgb.ch::af54b3ce-296a-4c5c-b791-3a7b97f92b2e" providerId="AD" clId="Web-{CBE7BFD7-71D1-4482-B782-8365649F5FBE}" dt="2021-03-10T13:34:32.277" v="43" actId="20577"/>
          <ac:spMkLst>
            <pc:docMk/>
            <pc:sldMk cId="490709109" sldId="537"/>
            <ac:spMk id="5" creationId="{16933CBA-C5FD-4123-9526-766BB936106B}"/>
          </ac:spMkLst>
        </pc:spChg>
        <pc:spChg chg="mod">
          <ac:chgData name="Berger, Valentin-MGB" userId="S::valentin.berger@mgb.ch::af54b3ce-296a-4c5c-b791-3a7b97f92b2e" providerId="AD" clId="Web-{CBE7BFD7-71D1-4482-B782-8365649F5FBE}" dt="2021-03-10T13:34:37.605" v="46" actId="20577"/>
          <ac:spMkLst>
            <pc:docMk/>
            <pc:sldMk cId="490709109" sldId="537"/>
            <ac:spMk id="78" creationId="{00000000-0000-0000-0000-000000000000}"/>
          </ac:spMkLst>
        </pc:spChg>
      </pc:sldChg>
      <pc:sldChg chg="modSp">
        <pc:chgData name="Berger, Valentin-MGB" userId="S::valentin.berger@mgb.ch::af54b3ce-296a-4c5c-b791-3a7b97f92b2e" providerId="AD" clId="Web-{CBE7BFD7-71D1-4482-B782-8365649F5FBE}" dt="2021-03-10T13:52:46.548" v="70"/>
        <pc:sldMkLst>
          <pc:docMk/>
          <pc:sldMk cId="115928287" sldId="539"/>
        </pc:sldMkLst>
        <pc:graphicFrameChg chg="mod modGraphic">
          <ac:chgData name="Berger, Valentin-MGB" userId="S::valentin.berger@mgb.ch::af54b3ce-296a-4c5c-b791-3a7b97f92b2e" providerId="AD" clId="Web-{CBE7BFD7-71D1-4482-B782-8365649F5FBE}" dt="2021-03-10T13:52:46.548" v="70"/>
          <ac:graphicFrameMkLst>
            <pc:docMk/>
            <pc:sldMk cId="115928287" sldId="539"/>
            <ac:graphicFrameMk id="7" creationId="{00000000-0000-0000-0000-000000000000}"/>
          </ac:graphicFrameMkLst>
        </pc:graphicFrameChg>
      </pc:sldChg>
      <pc:sldChg chg="add replId">
        <pc:chgData name="Berger, Valentin-MGB" userId="S::valentin.berger@mgb.ch::af54b3ce-296a-4c5c-b791-3a7b97f92b2e" providerId="AD" clId="Web-{CBE7BFD7-71D1-4482-B782-8365649F5FBE}" dt="2021-03-10T13:52:59.345" v="71"/>
        <pc:sldMkLst>
          <pc:docMk/>
          <pc:sldMk cId="2544092619" sldId="540"/>
        </pc:sldMkLst>
      </pc:sldChg>
    </pc:docChg>
  </pc:docChgLst>
  <pc:docChgLst>
    <pc:chgData name="Schneider, Maria-MGB" userId="S::maria.schneider@mgb.ch::75347b56-268d-4748-8c0c-25c7171b43e4" providerId="AD" clId="Web-{E6B0930D-DDC5-49FD-88C2-C7D9B0979DDB}"/>
    <pc:docChg chg="addSld modSld">
      <pc:chgData name="Schneider, Maria-MGB" userId="S::maria.schneider@mgb.ch::75347b56-268d-4748-8c0c-25c7171b43e4" providerId="AD" clId="Web-{E6B0930D-DDC5-49FD-88C2-C7D9B0979DDB}" dt="2021-05-04T09:25:09.773" v="34" actId="1076"/>
      <pc:docMkLst>
        <pc:docMk/>
      </pc:docMkLst>
      <pc:sldChg chg="modSp">
        <pc:chgData name="Schneider, Maria-MGB" userId="S::maria.schneider@mgb.ch::75347b56-268d-4748-8c0c-25c7171b43e4" providerId="AD" clId="Web-{E6B0930D-DDC5-49FD-88C2-C7D9B0979DDB}" dt="2021-05-04T09:25:09.773" v="34" actId="1076"/>
        <pc:sldMkLst>
          <pc:docMk/>
          <pc:sldMk cId="331375206" sldId="549"/>
        </pc:sldMkLst>
        <pc:picChg chg="mod">
          <ac:chgData name="Schneider, Maria-MGB" userId="S::maria.schneider@mgb.ch::75347b56-268d-4748-8c0c-25c7171b43e4" providerId="AD" clId="Web-{E6B0930D-DDC5-49FD-88C2-C7D9B0979DDB}" dt="2021-05-04T09:25:09.773" v="34" actId="1076"/>
          <ac:picMkLst>
            <pc:docMk/>
            <pc:sldMk cId="331375206" sldId="549"/>
            <ac:picMk id="6" creationId="{CBA0F298-3F69-4CFA-935C-6B46EE570D18}"/>
          </ac:picMkLst>
        </pc:picChg>
      </pc:sldChg>
      <pc:sldChg chg="mod modShow">
        <pc:chgData name="Schneider, Maria-MGB" userId="S::maria.schneider@mgb.ch::75347b56-268d-4748-8c0c-25c7171b43e4" providerId="AD" clId="Web-{E6B0930D-DDC5-49FD-88C2-C7D9B0979DDB}" dt="2021-05-04T09:23:39.851" v="1"/>
        <pc:sldMkLst>
          <pc:docMk/>
          <pc:sldMk cId="1752067986" sldId="553"/>
        </pc:sldMkLst>
      </pc:sldChg>
      <pc:sldChg chg="delSp modSp add replId">
        <pc:chgData name="Schneider, Maria-MGB" userId="S::maria.schneider@mgb.ch::75347b56-268d-4748-8c0c-25c7171b43e4" providerId="AD" clId="Web-{E6B0930D-DDC5-49FD-88C2-C7D9B0979DDB}" dt="2021-05-04T09:25:03.851" v="33" actId="1076"/>
        <pc:sldMkLst>
          <pc:docMk/>
          <pc:sldMk cId="3511480972" sldId="555"/>
        </pc:sldMkLst>
        <pc:spChg chg="mod">
          <ac:chgData name="Schneider, Maria-MGB" userId="S::maria.schneider@mgb.ch::75347b56-268d-4748-8c0c-25c7171b43e4" providerId="AD" clId="Web-{E6B0930D-DDC5-49FD-88C2-C7D9B0979DDB}" dt="2021-05-04T09:25:03.664" v="31" actId="1076"/>
          <ac:spMkLst>
            <pc:docMk/>
            <pc:sldMk cId="3511480972" sldId="555"/>
            <ac:spMk id="12" creationId="{9CEF4FBF-30F6-450A-8123-337C6EB4308C}"/>
          </ac:spMkLst>
        </pc:spChg>
        <pc:spChg chg="mod">
          <ac:chgData name="Schneider, Maria-MGB" userId="S::maria.schneider@mgb.ch::75347b56-268d-4748-8c0c-25c7171b43e4" providerId="AD" clId="Web-{E6B0930D-DDC5-49FD-88C2-C7D9B0979DDB}" dt="2021-05-04T09:25:03.851" v="33" actId="1076"/>
          <ac:spMkLst>
            <pc:docMk/>
            <pc:sldMk cId="3511480972" sldId="555"/>
            <ac:spMk id="13" creationId="{FB82E601-F632-406B-97EA-99C9FE3E262A}"/>
          </ac:spMkLst>
        </pc:spChg>
        <pc:spChg chg="del">
          <ac:chgData name="Schneider, Maria-MGB" userId="S::maria.schneider@mgb.ch::75347b56-268d-4748-8c0c-25c7171b43e4" providerId="AD" clId="Web-{E6B0930D-DDC5-49FD-88C2-C7D9B0979DDB}" dt="2021-05-04T09:23:43.507" v="2"/>
          <ac:spMkLst>
            <pc:docMk/>
            <pc:sldMk cId="3511480972" sldId="555"/>
            <ac:spMk id="15" creationId="{63276BFD-DC8C-49CB-BDC8-A3D863DF9B75}"/>
          </ac:spMkLst>
        </pc:spChg>
        <pc:spChg chg="del">
          <ac:chgData name="Schneider, Maria-MGB" userId="S::maria.schneider@mgb.ch::75347b56-268d-4748-8c0c-25c7171b43e4" providerId="AD" clId="Web-{E6B0930D-DDC5-49FD-88C2-C7D9B0979DDB}" dt="2021-05-04T09:23:46.585" v="3"/>
          <ac:spMkLst>
            <pc:docMk/>
            <pc:sldMk cId="3511480972" sldId="555"/>
            <ac:spMk id="16" creationId="{9DCF5C56-2726-4A16-A87A-06AB3CC85257}"/>
          </ac:spMkLst>
        </pc:spChg>
        <pc:picChg chg="mod">
          <ac:chgData name="Schneider, Maria-MGB" userId="S::maria.schneider@mgb.ch::75347b56-268d-4748-8c0c-25c7171b43e4" providerId="AD" clId="Web-{E6B0930D-DDC5-49FD-88C2-C7D9B0979DDB}" dt="2021-05-04T09:25:03.835" v="32" actId="1076"/>
          <ac:picMkLst>
            <pc:docMk/>
            <pc:sldMk cId="3511480972" sldId="555"/>
            <ac:picMk id="6" creationId="{10CCC3BA-8F42-4070-94D4-0F46DC9F1B9C}"/>
          </ac:picMkLst>
        </pc:picChg>
        <pc:picChg chg="mod">
          <ac:chgData name="Schneider, Maria-MGB" userId="S::maria.schneider@mgb.ch::75347b56-268d-4748-8c0c-25c7171b43e4" providerId="AD" clId="Web-{E6B0930D-DDC5-49FD-88C2-C7D9B0979DDB}" dt="2021-05-04T09:25:03.632" v="30" actId="1076"/>
          <ac:picMkLst>
            <pc:docMk/>
            <pc:sldMk cId="3511480972" sldId="555"/>
            <ac:picMk id="8" creationId="{4E53F8F2-FABC-4990-B309-6D01C97026E9}"/>
          </ac:picMkLst>
        </pc:picChg>
      </pc:sldChg>
    </pc:docChg>
  </pc:docChgLst>
  <pc:docChgLst>
    <pc:chgData name="Strübi, Silvan-MGB" userId="S::silvan.struebi@mgb.ch::95baf06b-2854-46e5-a239-42d5face947a" providerId="AD" clId="Web-{8995A019-A3DB-493C-99F4-CCDC72C1F438}"/>
    <pc:docChg chg="modSld">
      <pc:chgData name="Strübi, Silvan-MGB" userId="S::silvan.struebi@mgb.ch::95baf06b-2854-46e5-a239-42d5face947a" providerId="AD" clId="Web-{8995A019-A3DB-493C-99F4-CCDC72C1F438}" dt="2021-03-17T14:40:43.516" v="366" actId="20577"/>
      <pc:docMkLst>
        <pc:docMk/>
      </pc:docMkLst>
      <pc:sldChg chg="modSp">
        <pc:chgData name="Strübi, Silvan-MGB" userId="S::silvan.struebi@mgb.ch::95baf06b-2854-46e5-a239-42d5face947a" providerId="AD" clId="Web-{8995A019-A3DB-493C-99F4-CCDC72C1F438}" dt="2021-03-17T14:29:17.230" v="364" actId="20577"/>
        <pc:sldMkLst>
          <pc:docMk/>
          <pc:sldMk cId="490709109" sldId="537"/>
        </pc:sldMkLst>
        <pc:spChg chg="mod">
          <ac:chgData name="Strübi, Silvan-MGB" userId="S::silvan.struebi@mgb.ch::95baf06b-2854-46e5-a239-42d5face947a" providerId="AD" clId="Web-{8995A019-A3DB-493C-99F4-CCDC72C1F438}" dt="2021-03-17T14:29:17.230" v="364" actId="20577"/>
          <ac:spMkLst>
            <pc:docMk/>
            <pc:sldMk cId="490709109" sldId="537"/>
            <ac:spMk id="78" creationId="{00000000-0000-0000-0000-000000000000}"/>
          </ac:spMkLst>
        </pc:spChg>
      </pc:sldChg>
      <pc:sldChg chg="modSp">
        <pc:chgData name="Strübi, Silvan-MGB" userId="S::silvan.struebi@mgb.ch::95baf06b-2854-46e5-a239-42d5face947a" providerId="AD" clId="Web-{8995A019-A3DB-493C-99F4-CCDC72C1F438}" dt="2021-03-17T14:20:38.226" v="340"/>
        <pc:sldMkLst>
          <pc:docMk/>
          <pc:sldMk cId="115928287" sldId="539"/>
        </pc:sldMkLst>
        <pc:graphicFrameChg chg="mod modGraphic">
          <ac:chgData name="Strübi, Silvan-MGB" userId="S::silvan.struebi@mgb.ch::95baf06b-2854-46e5-a239-42d5face947a" providerId="AD" clId="Web-{8995A019-A3DB-493C-99F4-CCDC72C1F438}" dt="2021-03-17T14:20:38.226" v="340"/>
          <ac:graphicFrameMkLst>
            <pc:docMk/>
            <pc:sldMk cId="115928287" sldId="539"/>
            <ac:graphicFrameMk id="7" creationId="{00000000-0000-0000-0000-000000000000}"/>
          </ac:graphicFrameMkLst>
        </pc:graphicFrameChg>
      </pc:sldChg>
      <pc:sldChg chg="modSp">
        <pc:chgData name="Strübi, Silvan-MGB" userId="S::silvan.struebi@mgb.ch::95baf06b-2854-46e5-a239-42d5face947a" providerId="AD" clId="Web-{8995A019-A3DB-493C-99F4-CCDC72C1F438}" dt="2021-03-17T14:40:43.516" v="366" actId="20577"/>
        <pc:sldMkLst>
          <pc:docMk/>
          <pc:sldMk cId="1825493358" sldId="542"/>
        </pc:sldMkLst>
        <pc:spChg chg="mod">
          <ac:chgData name="Strübi, Silvan-MGB" userId="S::silvan.struebi@mgb.ch::95baf06b-2854-46e5-a239-42d5face947a" providerId="AD" clId="Web-{8995A019-A3DB-493C-99F4-CCDC72C1F438}" dt="2021-03-17T14:11:09.612" v="126" actId="20577"/>
          <ac:spMkLst>
            <pc:docMk/>
            <pc:sldMk cId="1825493358" sldId="542"/>
            <ac:spMk id="10" creationId="{76809720-7D7E-4F0B-92B6-18906686F7A7}"/>
          </ac:spMkLst>
        </pc:spChg>
        <pc:spChg chg="mod">
          <ac:chgData name="Strübi, Silvan-MGB" userId="S::silvan.struebi@mgb.ch::95baf06b-2854-46e5-a239-42d5face947a" providerId="AD" clId="Web-{8995A019-A3DB-493C-99F4-CCDC72C1F438}" dt="2021-03-17T14:40:43.516" v="366" actId="20577"/>
          <ac:spMkLst>
            <pc:docMk/>
            <pc:sldMk cId="1825493358" sldId="542"/>
            <ac:spMk id="84" creationId="{FF6EE600-6156-4EFA-BF8B-6D7EBC0B6A2D}"/>
          </ac:spMkLst>
        </pc:spChg>
      </pc:sldChg>
      <pc:sldChg chg="modSp">
        <pc:chgData name="Strübi, Silvan-MGB" userId="S::silvan.struebi@mgb.ch::95baf06b-2854-46e5-a239-42d5face947a" providerId="AD" clId="Web-{8995A019-A3DB-493C-99F4-CCDC72C1F438}" dt="2021-03-17T14:04:55.688" v="60" actId="20577"/>
        <pc:sldMkLst>
          <pc:docMk/>
          <pc:sldMk cId="911784802" sldId="545"/>
        </pc:sldMkLst>
        <pc:spChg chg="mod">
          <ac:chgData name="Strübi, Silvan-MGB" userId="S::silvan.struebi@mgb.ch::95baf06b-2854-46e5-a239-42d5face947a" providerId="AD" clId="Web-{8995A019-A3DB-493C-99F4-CCDC72C1F438}" dt="2021-03-17T14:04:55.688" v="60" actId="20577"/>
          <ac:spMkLst>
            <pc:docMk/>
            <pc:sldMk cId="911784802" sldId="545"/>
            <ac:spMk id="78" creationId="{00000000-0000-0000-0000-000000000000}"/>
          </ac:spMkLst>
        </pc:spChg>
      </pc:sldChg>
    </pc:docChg>
  </pc:docChgLst>
  <pc:docChgLst>
    <pc:chgData name="Strübi, Silvan-MGB" userId="S::silvan.struebi@mgb.ch::95baf06b-2854-46e5-a239-42d5face947a" providerId="AD" clId="Web-{ACD31FCE-E7B2-407F-B98C-8ECECC50F482}"/>
    <pc:docChg chg="modSld">
      <pc:chgData name="Strübi, Silvan-MGB" userId="S::silvan.struebi@mgb.ch::95baf06b-2854-46e5-a239-42d5face947a" providerId="AD" clId="Web-{ACD31FCE-E7B2-407F-B98C-8ECECC50F482}" dt="2021-05-03T14:59:17.110" v="2" actId="20577"/>
      <pc:docMkLst>
        <pc:docMk/>
      </pc:docMkLst>
      <pc:sldChg chg="modSp">
        <pc:chgData name="Strübi, Silvan-MGB" userId="S::silvan.struebi@mgb.ch::95baf06b-2854-46e5-a239-42d5face947a" providerId="AD" clId="Web-{ACD31FCE-E7B2-407F-B98C-8ECECC50F482}" dt="2021-05-03T14:59:17.110" v="2" actId="20577"/>
        <pc:sldMkLst>
          <pc:docMk/>
          <pc:sldMk cId="2978036004" sldId="543"/>
        </pc:sldMkLst>
        <pc:spChg chg="mod">
          <ac:chgData name="Strübi, Silvan-MGB" userId="S::silvan.struebi@mgb.ch::95baf06b-2854-46e5-a239-42d5face947a" providerId="AD" clId="Web-{ACD31FCE-E7B2-407F-B98C-8ECECC50F482}" dt="2021-05-03T14:59:17.110" v="2" actId="20577"/>
          <ac:spMkLst>
            <pc:docMk/>
            <pc:sldMk cId="2978036004" sldId="543"/>
            <ac:spMk id="78" creationId="{00000000-0000-0000-0000-000000000000}"/>
          </ac:spMkLst>
        </pc:spChg>
      </pc:sldChg>
    </pc:docChg>
  </pc:docChgLst>
  <pc:docChgLst>
    <pc:chgData name="Schneider, Maria-MGB" userId="S::maria.schneider@mgb.ch::75347b56-268d-4748-8c0c-25c7171b43e4" providerId="AD" clId="Web-{4AC0A4FB-B47A-46B9-AECB-B89F8F11187C}"/>
    <pc:docChg chg="modSld">
      <pc:chgData name="Schneider, Maria-MGB" userId="S::maria.schneider@mgb.ch::75347b56-268d-4748-8c0c-25c7171b43e4" providerId="AD" clId="Web-{4AC0A4FB-B47A-46B9-AECB-B89F8F11187C}" dt="2021-03-17T15:01:38.576" v="380" actId="20577"/>
      <pc:docMkLst>
        <pc:docMk/>
      </pc:docMkLst>
      <pc:sldChg chg="modSp">
        <pc:chgData name="Schneider, Maria-MGB" userId="S::maria.schneider@mgb.ch::75347b56-268d-4748-8c0c-25c7171b43e4" providerId="AD" clId="Web-{4AC0A4FB-B47A-46B9-AECB-B89F8F11187C}" dt="2021-03-17T14:31:52.972" v="29"/>
        <pc:sldMkLst>
          <pc:docMk/>
          <pc:sldMk cId="2544092619" sldId="540"/>
        </pc:sldMkLst>
        <pc:picChg chg="mod">
          <ac:chgData name="Schneider, Maria-MGB" userId="S::maria.schneider@mgb.ch::75347b56-268d-4748-8c0c-25c7171b43e4" providerId="AD" clId="Web-{4AC0A4FB-B47A-46B9-AECB-B89F8F11187C}" dt="2021-03-17T14:31:52.972" v="29"/>
          <ac:picMkLst>
            <pc:docMk/>
            <pc:sldMk cId="2544092619" sldId="540"/>
            <ac:picMk id="5" creationId="{8365D584-0766-462A-8085-28B5E7106777}"/>
          </ac:picMkLst>
        </pc:picChg>
      </pc:sldChg>
      <pc:sldChg chg="addSp delSp modSp">
        <pc:chgData name="Schneider, Maria-MGB" userId="S::maria.schneider@mgb.ch::75347b56-268d-4748-8c0c-25c7171b43e4" providerId="AD" clId="Web-{4AC0A4FB-B47A-46B9-AECB-B89F8F11187C}" dt="2021-03-17T14:06:21.608" v="7" actId="14100"/>
        <pc:sldMkLst>
          <pc:docMk/>
          <pc:sldMk cId="3023056854" sldId="541"/>
        </pc:sldMkLst>
        <pc:picChg chg="del">
          <ac:chgData name="Schneider, Maria-MGB" userId="S::maria.schneider@mgb.ch::75347b56-268d-4748-8c0c-25c7171b43e4" providerId="AD" clId="Web-{4AC0A4FB-B47A-46B9-AECB-B89F8F11187C}" dt="2021-03-17T14:05:29.779" v="0"/>
          <ac:picMkLst>
            <pc:docMk/>
            <pc:sldMk cId="3023056854" sldId="541"/>
            <ac:picMk id="5" creationId="{9D3EF03E-94E0-4921-8557-56D49759399D}"/>
          </ac:picMkLst>
        </pc:picChg>
        <pc:picChg chg="add mod ord">
          <ac:chgData name="Schneider, Maria-MGB" userId="S::maria.schneider@mgb.ch::75347b56-268d-4748-8c0c-25c7171b43e4" providerId="AD" clId="Web-{4AC0A4FB-B47A-46B9-AECB-B89F8F11187C}" dt="2021-03-17T14:06:21.608" v="7" actId="14100"/>
          <ac:picMkLst>
            <pc:docMk/>
            <pc:sldMk cId="3023056854" sldId="541"/>
            <ac:picMk id="6" creationId="{C9F4D08C-D73E-4ED2-B299-F3E47EE94978}"/>
          </ac:picMkLst>
        </pc:picChg>
      </pc:sldChg>
      <pc:sldChg chg="modSp">
        <pc:chgData name="Schneider, Maria-MGB" userId="S::maria.schneider@mgb.ch::75347b56-268d-4748-8c0c-25c7171b43e4" providerId="AD" clId="Web-{4AC0A4FB-B47A-46B9-AECB-B89F8F11187C}" dt="2021-03-17T14:58:35.728" v="325" actId="20577"/>
        <pc:sldMkLst>
          <pc:docMk/>
          <pc:sldMk cId="1825493358" sldId="542"/>
        </pc:sldMkLst>
        <pc:spChg chg="mod">
          <ac:chgData name="Schneider, Maria-MGB" userId="S::maria.schneider@mgb.ch::75347b56-268d-4748-8c0c-25c7171b43e4" providerId="AD" clId="Web-{4AC0A4FB-B47A-46B9-AECB-B89F8F11187C}" dt="2021-03-17T14:57:49.493" v="311" actId="20577"/>
          <ac:spMkLst>
            <pc:docMk/>
            <pc:sldMk cId="1825493358" sldId="542"/>
            <ac:spMk id="10" creationId="{76809720-7D7E-4F0B-92B6-18906686F7A7}"/>
          </ac:spMkLst>
        </pc:spChg>
        <pc:spChg chg="mod">
          <ac:chgData name="Schneider, Maria-MGB" userId="S::maria.schneider@mgb.ch::75347b56-268d-4748-8c0c-25c7171b43e4" providerId="AD" clId="Web-{4AC0A4FB-B47A-46B9-AECB-B89F8F11187C}" dt="2021-03-17T14:58:35.728" v="325" actId="20577"/>
          <ac:spMkLst>
            <pc:docMk/>
            <pc:sldMk cId="1825493358" sldId="542"/>
            <ac:spMk id="77" creationId="{00000000-0000-0000-0000-000000000000}"/>
          </ac:spMkLst>
        </pc:spChg>
        <pc:spChg chg="mod">
          <ac:chgData name="Schneider, Maria-MGB" userId="S::maria.schneider@mgb.ch::75347b56-268d-4748-8c0c-25c7171b43e4" providerId="AD" clId="Web-{4AC0A4FB-B47A-46B9-AECB-B89F8F11187C}" dt="2021-03-17T14:43:58.864" v="152" actId="20577"/>
          <ac:spMkLst>
            <pc:docMk/>
            <pc:sldMk cId="1825493358" sldId="542"/>
            <ac:spMk id="84" creationId="{FF6EE600-6156-4EFA-BF8B-6D7EBC0B6A2D}"/>
          </ac:spMkLst>
        </pc:spChg>
      </pc:sldChg>
      <pc:sldChg chg="modSp">
        <pc:chgData name="Schneider, Maria-MGB" userId="S::maria.schneider@mgb.ch::75347b56-268d-4748-8c0c-25c7171b43e4" providerId="AD" clId="Web-{4AC0A4FB-B47A-46B9-AECB-B89F8F11187C}" dt="2021-03-17T15:01:38.576" v="380" actId="20577"/>
        <pc:sldMkLst>
          <pc:docMk/>
          <pc:sldMk cId="911784802" sldId="545"/>
        </pc:sldMkLst>
        <pc:spChg chg="mod">
          <ac:chgData name="Schneider, Maria-MGB" userId="S::maria.schneider@mgb.ch::75347b56-268d-4748-8c0c-25c7171b43e4" providerId="AD" clId="Web-{4AC0A4FB-B47A-46B9-AECB-B89F8F11187C}" dt="2021-03-17T15:01:38.576" v="380" actId="20577"/>
          <ac:spMkLst>
            <pc:docMk/>
            <pc:sldMk cId="911784802" sldId="545"/>
            <ac:spMk id="78" creationId="{00000000-0000-0000-0000-000000000000}"/>
          </ac:spMkLst>
        </pc:spChg>
      </pc:sldChg>
    </pc:docChg>
  </pc:docChgLst>
  <pc:docChgLst>
    <pc:chgData name="Schneider, Maria-MGB" userId="S::maria.schneider@mgb.ch::75347b56-268d-4748-8c0c-25c7171b43e4" providerId="AD" clId="Web-{22519D7F-FFDA-4A2F-8F4E-EB4E5DAB55A3}"/>
    <pc:docChg chg="modSld">
      <pc:chgData name="Schneider, Maria-MGB" userId="S::maria.schneider@mgb.ch::75347b56-268d-4748-8c0c-25c7171b43e4" providerId="AD" clId="Web-{22519D7F-FFDA-4A2F-8F4E-EB4E5DAB55A3}" dt="2021-04-21T12:26:28.987" v="5" actId="14100"/>
      <pc:docMkLst>
        <pc:docMk/>
      </pc:docMkLst>
      <pc:sldChg chg="addSp delSp modSp">
        <pc:chgData name="Schneider, Maria-MGB" userId="S::maria.schneider@mgb.ch::75347b56-268d-4748-8c0c-25c7171b43e4" providerId="AD" clId="Web-{22519D7F-FFDA-4A2F-8F4E-EB4E5DAB55A3}" dt="2021-04-21T12:26:28.987" v="5" actId="14100"/>
        <pc:sldMkLst>
          <pc:docMk/>
          <pc:sldMk cId="1077379542" sldId="516"/>
        </pc:sldMkLst>
        <pc:spChg chg="add del mod">
          <ac:chgData name="Schneider, Maria-MGB" userId="S::maria.schneider@mgb.ch::75347b56-268d-4748-8c0c-25c7171b43e4" providerId="AD" clId="Web-{22519D7F-FFDA-4A2F-8F4E-EB4E5DAB55A3}" dt="2021-04-21T12:25:38.046" v="4"/>
          <ac:spMkLst>
            <pc:docMk/>
            <pc:sldMk cId="1077379542" sldId="516"/>
            <ac:spMk id="4" creationId="{3507F387-C9E1-470A-9CA9-3A784D442BBB}"/>
          </ac:spMkLst>
        </pc:spChg>
        <pc:spChg chg="mod">
          <ac:chgData name="Schneider, Maria-MGB" userId="S::maria.schneider@mgb.ch::75347b56-268d-4748-8c0c-25c7171b43e4" providerId="AD" clId="Web-{22519D7F-FFDA-4A2F-8F4E-EB4E5DAB55A3}" dt="2021-04-21T12:26:28.987" v="5" actId="14100"/>
          <ac:spMkLst>
            <pc:docMk/>
            <pc:sldMk cId="1077379542" sldId="516"/>
            <ac:spMk id="17" creationId="{00000000-0000-0000-0000-000000000000}"/>
          </ac:spMkLst>
        </pc:spChg>
        <pc:spChg chg="add del">
          <ac:chgData name="Schneider, Maria-MGB" userId="S::maria.schneider@mgb.ch::75347b56-268d-4748-8c0c-25c7171b43e4" providerId="AD" clId="Web-{22519D7F-FFDA-4A2F-8F4E-EB4E5DAB55A3}" dt="2021-04-21T12:25:38.046" v="4"/>
          <ac:spMkLst>
            <pc:docMk/>
            <pc:sldMk cId="1077379542" sldId="516"/>
            <ac:spMk id="21" creationId="{00000000-0000-0000-0000-000000000000}"/>
          </ac:spMkLst>
        </pc:spChg>
      </pc:sldChg>
    </pc:docChg>
  </pc:docChgLst>
  <pc:docChgLst>
    <pc:chgData name="Schneider, Maria-MGB" userId="S::maria.schneider@mgb.ch::75347b56-268d-4748-8c0c-25c7171b43e4" providerId="AD" clId="Web-{C9BFB251-2C6F-4165-AB2F-63BD19365205}"/>
    <pc:docChg chg="modSld">
      <pc:chgData name="Schneider, Maria-MGB" userId="S::maria.schneider@mgb.ch::75347b56-268d-4748-8c0c-25c7171b43e4" providerId="AD" clId="Web-{C9BFB251-2C6F-4165-AB2F-63BD19365205}" dt="2021-05-04T11:07:52.196" v="21" actId="20577"/>
      <pc:docMkLst>
        <pc:docMk/>
      </pc:docMkLst>
      <pc:sldChg chg="modSp">
        <pc:chgData name="Schneider, Maria-MGB" userId="S::maria.schneider@mgb.ch::75347b56-268d-4748-8c0c-25c7171b43e4" providerId="AD" clId="Web-{C9BFB251-2C6F-4165-AB2F-63BD19365205}" dt="2021-05-04T11:07:52.196" v="21" actId="20577"/>
        <pc:sldMkLst>
          <pc:docMk/>
          <pc:sldMk cId="2978036004" sldId="543"/>
        </pc:sldMkLst>
        <pc:spChg chg="mod">
          <ac:chgData name="Schneider, Maria-MGB" userId="S::maria.schneider@mgb.ch::75347b56-268d-4748-8c0c-25c7171b43e4" providerId="AD" clId="Web-{C9BFB251-2C6F-4165-AB2F-63BD19365205}" dt="2021-05-04T11:07:52.196" v="21" actId="20577"/>
          <ac:spMkLst>
            <pc:docMk/>
            <pc:sldMk cId="2978036004" sldId="543"/>
            <ac:spMk id="78" creationId="{00000000-0000-0000-0000-000000000000}"/>
          </ac:spMkLst>
        </pc:spChg>
      </pc:sldChg>
    </pc:docChg>
  </pc:docChgLst>
  <pc:docChgLst>
    <pc:chgData name="Strübi, Silvan-MGB" userId="S::silvan.struebi@mgb.ch::95baf06b-2854-46e5-a239-42d5face947a" providerId="AD" clId="Web-{9EC84043-9FB0-4AD9-8011-F83CB44E36A1}"/>
    <pc:docChg chg="addSld delSld modSld sldOrd">
      <pc:chgData name="Strübi, Silvan-MGB" userId="S::silvan.struebi@mgb.ch::95baf06b-2854-46e5-a239-42d5face947a" providerId="AD" clId="Web-{9EC84043-9FB0-4AD9-8011-F83CB44E36A1}" dt="2021-03-10T14:53:13.552" v="650"/>
      <pc:docMkLst>
        <pc:docMk/>
      </pc:docMkLst>
      <pc:sldChg chg="addSp delSp modSp mod modClrScheme chgLayout">
        <pc:chgData name="Strübi, Silvan-MGB" userId="S::silvan.struebi@mgb.ch::95baf06b-2854-46e5-a239-42d5face947a" providerId="AD" clId="Web-{9EC84043-9FB0-4AD9-8011-F83CB44E36A1}" dt="2021-03-10T14:43:31.514" v="565" actId="1076"/>
        <pc:sldMkLst>
          <pc:docMk/>
          <pc:sldMk cId="490709109" sldId="537"/>
        </pc:sldMkLst>
        <pc:spChg chg="mod">
          <ac:chgData name="Strübi, Silvan-MGB" userId="S::silvan.struebi@mgb.ch::95baf06b-2854-46e5-a239-42d5face947a" providerId="AD" clId="Web-{9EC84043-9FB0-4AD9-8011-F83CB44E36A1}" dt="2021-03-10T14:31:32.333" v="542"/>
          <ac:spMkLst>
            <pc:docMk/>
            <pc:sldMk cId="490709109" sldId="537"/>
            <ac:spMk id="2" creationId="{00000000-0000-0000-0000-000000000000}"/>
          </ac:spMkLst>
        </pc:spChg>
        <pc:spChg chg="mod">
          <ac:chgData name="Strübi, Silvan-MGB" userId="S::silvan.struebi@mgb.ch::95baf06b-2854-46e5-a239-42d5face947a" providerId="AD" clId="Web-{9EC84043-9FB0-4AD9-8011-F83CB44E36A1}" dt="2021-03-10T14:31:32.333" v="542"/>
          <ac:spMkLst>
            <pc:docMk/>
            <pc:sldMk cId="490709109" sldId="537"/>
            <ac:spMk id="3" creationId="{00000000-0000-0000-0000-000000000000}"/>
          </ac:spMkLst>
        </pc:spChg>
        <pc:spChg chg="mod">
          <ac:chgData name="Strübi, Silvan-MGB" userId="S::silvan.struebi@mgb.ch::95baf06b-2854-46e5-a239-42d5face947a" providerId="AD" clId="Web-{9EC84043-9FB0-4AD9-8011-F83CB44E36A1}" dt="2021-03-10T14:31:32.333" v="542"/>
          <ac:spMkLst>
            <pc:docMk/>
            <pc:sldMk cId="490709109" sldId="537"/>
            <ac:spMk id="4" creationId="{00000000-0000-0000-0000-000000000000}"/>
          </ac:spMkLst>
        </pc:spChg>
        <pc:spChg chg="mod">
          <ac:chgData name="Strübi, Silvan-MGB" userId="S::silvan.struebi@mgb.ch::95baf06b-2854-46e5-a239-42d5face947a" providerId="AD" clId="Web-{9EC84043-9FB0-4AD9-8011-F83CB44E36A1}" dt="2021-03-10T14:31:32.333" v="542"/>
          <ac:spMkLst>
            <pc:docMk/>
            <pc:sldMk cId="490709109" sldId="537"/>
            <ac:spMk id="77" creationId="{00000000-0000-0000-0000-000000000000}"/>
          </ac:spMkLst>
        </pc:spChg>
        <pc:spChg chg="mod ord">
          <ac:chgData name="Strübi, Silvan-MGB" userId="S::silvan.struebi@mgb.ch::95baf06b-2854-46e5-a239-42d5face947a" providerId="AD" clId="Web-{9EC84043-9FB0-4AD9-8011-F83CB44E36A1}" dt="2021-03-10T14:43:10.857" v="562" actId="20577"/>
          <ac:spMkLst>
            <pc:docMk/>
            <pc:sldMk cId="490709109" sldId="537"/>
            <ac:spMk id="78" creationId="{00000000-0000-0000-0000-000000000000}"/>
          </ac:spMkLst>
        </pc:spChg>
        <pc:spChg chg="mod">
          <ac:chgData name="Strübi, Silvan-MGB" userId="S::silvan.struebi@mgb.ch::95baf06b-2854-46e5-a239-42d5face947a" providerId="AD" clId="Web-{9EC84043-9FB0-4AD9-8011-F83CB44E36A1}" dt="2021-03-10T14:31:40.568" v="543" actId="14100"/>
          <ac:spMkLst>
            <pc:docMk/>
            <pc:sldMk cId="490709109" sldId="537"/>
            <ac:spMk id="79" creationId="{00000000-0000-0000-0000-000000000000}"/>
          </ac:spMkLst>
        </pc:spChg>
        <pc:picChg chg="add mod">
          <ac:chgData name="Strübi, Silvan-MGB" userId="S::silvan.struebi@mgb.ch::95baf06b-2854-46e5-a239-42d5face947a" providerId="AD" clId="Web-{9EC84043-9FB0-4AD9-8011-F83CB44E36A1}" dt="2021-03-10T14:43:31.514" v="565" actId="1076"/>
          <ac:picMkLst>
            <pc:docMk/>
            <pc:sldMk cId="490709109" sldId="537"/>
            <ac:picMk id="5" creationId="{11864D67-E521-47D9-B294-D288AB9C6EA5}"/>
          </ac:picMkLst>
        </pc:picChg>
        <pc:picChg chg="del mod ord">
          <ac:chgData name="Strübi, Silvan-MGB" userId="S::silvan.struebi@mgb.ch::95baf06b-2854-46e5-a239-42d5face947a" providerId="AD" clId="Web-{9EC84043-9FB0-4AD9-8011-F83CB44E36A1}" dt="2021-03-10T14:43:05.467" v="557"/>
          <ac:picMkLst>
            <pc:docMk/>
            <pc:sldMk cId="490709109" sldId="537"/>
            <ac:picMk id="6" creationId="{14165034-A3F1-4BAF-ADDA-DA975518394F}"/>
          </ac:picMkLst>
        </pc:picChg>
      </pc:sldChg>
      <pc:sldChg chg="delSp modSp">
        <pc:chgData name="Strübi, Silvan-MGB" userId="S::silvan.struebi@mgb.ch::95baf06b-2854-46e5-a239-42d5face947a" providerId="AD" clId="Web-{9EC84043-9FB0-4AD9-8011-F83CB44E36A1}" dt="2021-03-10T14:46:01.453" v="639"/>
        <pc:sldMkLst>
          <pc:docMk/>
          <pc:sldMk cId="115928287" sldId="539"/>
        </pc:sldMkLst>
        <pc:spChg chg="del">
          <ac:chgData name="Strübi, Silvan-MGB" userId="S::silvan.struebi@mgb.ch::95baf06b-2854-46e5-a239-42d5face947a" providerId="AD" clId="Web-{9EC84043-9FB0-4AD9-8011-F83CB44E36A1}" dt="2021-03-10T14:28:11.878" v="506"/>
          <ac:spMkLst>
            <pc:docMk/>
            <pc:sldMk cId="115928287" sldId="539"/>
            <ac:spMk id="12" creationId="{00000000-0000-0000-0000-000000000000}"/>
          </ac:spMkLst>
        </pc:spChg>
        <pc:graphicFrameChg chg="mod modGraphic">
          <ac:chgData name="Strübi, Silvan-MGB" userId="S::silvan.struebi@mgb.ch::95baf06b-2854-46e5-a239-42d5face947a" providerId="AD" clId="Web-{9EC84043-9FB0-4AD9-8011-F83CB44E36A1}" dt="2021-03-10T14:46:01.453" v="639"/>
          <ac:graphicFrameMkLst>
            <pc:docMk/>
            <pc:sldMk cId="115928287" sldId="539"/>
            <ac:graphicFrameMk id="7" creationId="{00000000-0000-0000-0000-000000000000}"/>
          </ac:graphicFrameMkLst>
        </pc:graphicFrameChg>
      </pc:sldChg>
      <pc:sldChg chg="modSp">
        <pc:chgData name="Strübi, Silvan-MGB" userId="S::silvan.struebi@mgb.ch::95baf06b-2854-46e5-a239-42d5face947a" providerId="AD" clId="Web-{9EC84043-9FB0-4AD9-8011-F83CB44E36A1}" dt="2021-03-10T14:52:24.005" v="649" actId="20577"/>
        <pc:sldMkLst>
          <pc:docMk/>
          <pc:sldMk cId="2544092619" sldId="540"/>
        </pc:sldMkLst>
        <pc:spChg chg="mod">
          <ac:chgData name="Strübi, Silvan-MGB" userId="S::silvan.struebi@mgb.ch::95baf06b-2854-46e5-a239-42d5face947a" providerId="AD" clId="Web-{9EC84043-9FB0-4AD9-8011-F83CB44E36A1}" dt="2021-03-10T14:52:24.005" v="649" actId="20577"/>
          <ac:spMkLst>
            <pc:docMk/>
            <pc:sldMk cId="2544092619" sldId="540"/>
            <ac:spMk id="78" creationId="{00000000-0000-0000-0000-000000000000}"/>
          </ac:spMkLst>
        </pc:spChg>
      </pc:sldChg>
      <pc:sldChg chg="addSp modSp mod modClrScheme chgLayout">
        <pc:chgData name="Strübi, Silvan-MGB" userId="S::silvan.struebi@mgb.ch::95baf06b-2854-46e5-a239-42d5face947a" providerId="AD" clId="Web-{9EC84043-9FB0-4AD9-8011-F83CB44E36A1}" dt="2021-03-10T14:32:51.069" v="550"/>
        <pc:sldMkLst>
          <pc:docMk/>
          <pc:sldMk cId="3023056854" sldId="541"/>
        </pc:sldMkLst>
        <pc:spChg chg="mod">
          <ac:chgData name="Strübi, Silvan-MGB" userId="S::silvan.struebi@mgb.ch::95baf06b-2854-46e5-a239-42d5face947a" providerId="AD" clId="Web-{9EC84043-9FB0-4AD9-8011-F83CB44E36A1}" dt="2021-03-10T14:32:51.069" v="550"/>
          <ac:spMkLst>
            <pc:docMk/>
            <pc:sldMk cId="3023056854" sldId="541"/>
            <ac:spMk id="2" creationId="{00000000-0000-0000-0000-000000000000}"/>
          </ac:spMkLst>
        </pc:spChg>
        <pc:spChg chg="mod">
          <ac:chgData name="Strübi, Silvan-MGB" userId="S::silvan.struebi@mgb.ch::95baf06b-2854-46e5-a239-42d5face947a" providerId="AD" clId="Web-{9EC84043-9FB0-4AD9-8011-F83CB44E36A1}" dt="2021-03-10T14:32:51.069" v="550"/>
          <ac:spMkLst>
            <pc:docMk/>
            <pc:sldMk cId="3023056854" sldId="541"/>
            <ac:spMk id="3" creationId="{00000000-0000-0000-0000-000000000000}"/>
          </ac:spMkLst>
        </pc:spChg>
        <pc:spChg chg="mod">
          <ac:chgData name="Strübi, Silvan-MGB" userId="S::silvan.struebi@mgb.ch::95baf06b-2854-46e5-a239-42d5face947a" providerId="AD" clId="Web-{9EC84043-9FB0-4AD9-8011-F83CB44E36A1}" dt="2021-03-10T14:32:51.069" v="550"/>
          <ac:spMkLst>
            <pc:docMk/>
            <pc:sldMk cId="3023056854" sldId="541"/>
            <ac:spMk id="4" creationId="{00000000-0000-0000-0000-000000000000}"/>
          </ac:spMkLst>
        </pc:spChg>
        <pc:spChg chg="mod">
          <ac:chgData name="Strübi, Silvan-MGB" userId="S::silvan.struebi@mgb.ch::95baf06b-2854-46e5-a239-42d5face947a" providerId="AD" clId="Web-{9EC84043-9FB0-4AD9-8011-F83CB44E36A1}" dt="2021-03-10T14:32:51.069" v="550"/>
          <ac:spMkLst>
            <pc:docMk/>
            <pc:sldMk cId="3023056854" sldId="541"/>
            <ac:spMk id="77" creationId="{00000000-0000-0000-0000-000000000000}"/>
          </ac:spMkLst>
        </pc:spChg>
        <pc:spChg chg="mod">
          <ac:chgData name="Strübi, Silvan-MGB" userId="S::silvan.struebi@mgb.ch::95baf06b-2854-46e5-a239-42d5face947a" providerId="AD" clId="Web-{9EC84043-9FB0-4AD9-8011-F83CB44E36A1}" dt="2021-03-10T14:32:51.069" v="550"/>
          <ac:spMkLst>
            <pc:docMk/>
            <pc:sldMk cId="3023056854" sldId="541"/>
            <ac:spMk id="78" creationId="{00000000-0000-0000-0000-000000000000}"/>
          </ac:spMkLst>
        </pc:spChg>
        <pc:spChg chg="mod">
          <ac:chgData name="Strübi, Silvan-MGB" userId="S::silvan.struebi@mgb.ch::95baf06b-2854-46e5-a239-42d5face947a" providerId="AD" clId="Web-{9EC84043-9FB0-4AD9-8011-F83CB44E36A1}" dt="2021-03-10T14:32:51.069" v="550"/>
          <ac:spMkLst>
            <pc:docMk/>
            <pc:sldMk cId="3023056854" sldId="541"/>
            <ac:spMk id="79" creationId="{00000000-0000-0000-0000-000000000000}"/>
          </ac:spMkLst>
        </pc:spChg>
        <pc:picChg chg="add mod ord">
          <ac:chgData name="Strübi, Silvan-MGB" userId="S::silvan.struebi@mgb.ch::95baf06b-2854-46e5-a239-42d5face947a" providerId="AD" clId="Web-{9EC84043-9FB0-4AD9-8011-F83CB44E36A1}" dt="2021-03-10T14:32:51.069" v="550"/>
          <ac:picMkLst>
            <pc:docMk/>
            <pc:sldMk cId="3023056854" sldId="541"/>
            <ac:picMk id="5" creationId="{9D3EF03E-94E0-4921-8557-56D49759399D}"/>
          </ac:picMkLst>
        </pc:picChg>
      </pc:sldChg>
      <pc:sldChg chg="addSp delSp modSp add mod replId modClrScheme chgLayout">
        <pc:chgData name="Strübi, Silvan-MGB" userId="S::silvan.struebi@mgb.ch::95baf06b-2854-46e5-a239-42d5face947a" providerId="AD" clId="Web-{9EC84043-9FB0-4AD9-8011-F83CB44E36A1}" dt="2021-03-10T14:24:42.688" v="435" actId="20577"/>
        <pc:sldMkLst>
          <pc:docMk/>
          <pc:sldMk cId="1825493358" sldId="542"/>
        </pc:sldMkLst>
        <pc:spChg chg="mod">
          <ac:chgData name="Strübi, Silvan-MGB" userId="S::silvan.struebi@mgb.ch::95baf06b-2854-46e5-a239-42d5face947a" providerId="AD" clId="Web-{9EC84043-9FB0-4AD9-8011-F83CB44E36A1}" dt="2021-03-10T14:11:03.866" v="11"/>
          <ac:spMkLst>
            <pc:docMk/>
            <pc:sldMk cId="1825493358" sldId="542"/>
            <ac:spMk id="2" creationId="{00000000-0000-0000-0000-000000000000}"/>
          </ac:spMkLst>
        </pc:spChg>
        <pc:spChg chg="mod">
          <ac:chgData name="Strübi, Silvan-MGB" userId="S::silvan.struebi@mgb.ch::95baf06b-2854-46e5-a239-42d5face947a" providerId="AD" clId="Web-{9EC84043-9FB0-4AD9-8011-F83CB44E36A1}" dt="2021-03-10T14:11:03.866" v="11"/>
          <ac:spMkLst>
            <pc:docMk/>
            <pc:sldMk cId="1825493358" sldId="542"/>
            <ac:spMk id="3" creationId="{00000000-0000-0000-0000-000000000000}"/>
          </ac:spMkLst>
        </pc:spChg>
        <pc:spChg chg="mod">
          <ac:chgData name="Strübi, Silvan-MGB" userId="S::silvan.struebi@mgb.ch::95baf06b-2854-46e5-a239-42d5face947a" providerId="AD" clId="Web-{9EC84043-9FB0-4AD9-8011-F83CB44E36A1}" dt="2021-03-10T14:11:03.866" v="11"/>
          <ac:spMkLst>
            <pc:docMk/>
            <pc:sldMk cId="1825493358" sldId="542"/>
            <ac:spMk id="4" creationId="{00000000-0000-0000-0000-000000000000}"/>
          </ac:spMkLst>
        </pc:spChg>
        <pc:spChg chg="add del mod">
          <ac:chgData name="Strübi, Silvan-MGB" userId="S::silvan.struebi@mgb.ch::95baf06b-2854-46e5-a239-42d5face947a" providerId="AD" clId="Web-{9EC84043-9FB0-4AD9-8011-F83CB44E36A1}" dt="2021-03-10T14:11:03.866" v="11"/>
          <ac:spMkLst>
            <pc:docMk/>
            <pc:sldMk cId="1825493358" sldId="542"/>
            <ac:spMk id="7" creationId="{68E92AF4-AEB1-4634-B5F5-07A9977A6E4B}"/>
          </ac:spMkLst>
        </pc:spChg>
        <pc:spChg chg="add del mod">
          <ac:chgData name="Strübi, Silvan-MGB" userId="S::silvan.struebi@mgb.ch::95baf06b-2854-46e5-a239-42d5face947a" providerId="AD" clId="Web-{9EC84043-9FB0-4AD9-8011-F83CB44E36A1}" dt="2021-03-10T14:11:03.866" v="11"/>
          <ac:spMkLst>
            <pc:docMk/>
            <pc:sldMk cId="1825493358" sldId="542"/>
            <ac:spMk id="9" creationId="{0A43BC35-4919-4E1C-8097-362114BF9211}"/>
          </ac:spMkLst>
        </pc:spChg>
        <pc:spChg chg="add mod">
          <ac:chgData name="Strübi, Silvan-MGB" userId="S::silvan.struebi@mgb.ch::95baf06b-2854-46e5-a239-42d5face947a" providerId="AD" clId="Web-{9EC84043-9FB0-4AD9-8011-F83CB44E36A1}" dt="2021-03-10T14:24:42.688" v="435" actId="20577"/>
          <ac:spMkLst>
            <pc:docMk/>
            <pc:sldMk cId="1825493358" sldId="542"/>
            <ac:spMk id="10" creationId="{76809720-7D7E-4F0B-92B6-18906686F7A7}"/>
          </ac:spMkLst>
        </pc:spChg>
        <pc:spChg chg="mod">
          <ac:chgData name="Strübi, Silvan-MGB" userId="S::silvan.struebi@mgb.ch::95baf06b-2854-46e5-a239-42d5face947a" providerId="AD" clId="Web-{9EC84043-9FB0-4AD9-8011-F83CB44E36A1}" dt="2021-03-10T14:11:03.866" v="11"/>
          <ac:spMkLst>
            <pc:docMk/>
            <pc:sldMk cId="1825493358" sldId="542"/>
            <ac:spMk id="77" creationId="{00000000-0000-0000-0000-000000000000}"/>
          </ac:spMkLst>
        </pc:spChg>
        <pc:spChg chg="del">
          <ac:chgData name="Strübi, Silvan-MGB" userId="S::silvan.struebi@mgb.ch::95baf06b-2854-46e5-a239-42d5face947a" providerId="AD" clId="Web-{9EC84043-9FB0-4AD9-8011-F83CB44E36A1}" dt="2021-03-10T14:10:55.084" v="10"/>
          <ac:spMkLst>
            <pc:docMk/>
            <pc:sldMk cId="1825493358" sldId="542"/>
            <ac:spMk id="78" creationId="{00000000-0000-0000-0000-000000000000}"/>
          </ac:spMkLst>
        </pc:spChg>
        <pc:spChg chg="del">
          <ac:chgData name="Strübi, Silvan-MGB" userId="S::silvan.struebi@mgb.ch::95baf06b-2854-46e5-a239-42d5face947a" providerId="AD" clId="Web-{9EC84043-9FB0-4AD9-8011-F83CB44E36A1}" dt="2021-03-10T14:10:52.318" v="8"/>
          <ac:spMkLst>
            <pc:docMk/>
            <pc:sldMk cId="1825493358" sldId="542"/>
            <ac:spMk id="79" creationId="{00000000-0000-0000-0000-000000000000}"/>
          </ac:spMkLst>
        </pc:spChg>
        <pc:spChg chg="add del mod">
          <ac:chgData name="Strübi, Silvan-MGB" userId="S::silvan.struebi@mgb.ch::95baf06b-2854-46e5-a239-42d5face947a" providerId="AD" clId="Web-{9EC84043-9FB0-4AD9-8011-F83CB44E36A1}" dt="2021-03-10T14:11:14.459" v="12"/>
          <ac:spMkLst>
            <pc:docMk/>
            <pc:sldMk cId="1825493358" sldId="542"/>
            <ac:spMk id="82" creationId="{849CCB70-AC06-461A-AE2E-D5109890AF1D}"/>
          </ac:spMkLst>
        </pc:spChg>
        <pc:spChg chg="add mod">
          <ac:chgData name="Strübi, Silvan-MGB" userId="S::silvan.struebi@mgb.ch::95baf06b-2854-46e5-a239-42d5face947a" providerId="AD" clId="Web-{9EC84043-9FB0-4AD9-8011-F83CB44E36A1}" dt="2021-03-10T14:24:00.890" v="377" actId="20577"/>
          <ac:spMkLst>
            <pc:docMk/>
            <pc:sldMk cId="1825493358" sldId="542"/>
            <ac:spMk id="84" creationId="{FF6EE600-6156-4EFA-BF8B-6D7EBC0B6A2D}"/>
          </ac:spMkLst>
        </pc:spChg>
        <pc:spChg chg="add del mod">
          <ac:chgData name="Strübi, Silvan-MGB" userId="S::silvan.struebi@mgb.ch::95baf06b-2854-46e5-a239-42d5face947a" providerId="AD" clId="Web-{9EC84043-9FB0-4AD9-8011-F83CB44E36A1}" dt="2021-03-10T14:12:07.522" v="21"/>
          <ac:spMkLst>
            <pc:docMk/>
            <pc:sldMk cId="1825493358" sldId="542"/>
            <ac:spMk id="86" creationId="{11E2105A-5673-4158-BE0D-03C4BF602922}"/>
          </ac:spMkLst>
        </pc:spChg>
        <pc:picChg chg="del">
          <ac:chgData name="Strübi, Silvan-MGB" userId="S::silvan.struebi@mgb.ch::95baf06b-2854-46e5-a239-42d5face947a" providerId="AD" clId="Web-{9EC84043-9FB0-4AD9-8011-F83CB44E36A1}" dt="2021-03-10T14:10:53.647" v="9"/>
          <ac:picMkLst>
            <pc:docMk/>
            <pc:sldMk cId="1825493358" sldId="542"/>
            <ac:picMk id="5" creationId="{9D3EF03E-94E0-4921-8557-56D49759399D}"/>
          </ac:picMkLst>
        </pc:picChg>
      </pc:sldChg>
      <pc:sldChg chg="modSp">
        <pc:chgData name="Strübi, Silvan-MGB" userId="S::silvan.struebi@mgb.ch::95baf06b-2854-46e5-a239-42d5face947a" providerId="AD" clId="Web-{9EC84043-9FB0-4AD9-8011-F83CB44E36A1}" dt="2021-03-10T14:21:16.467" v="310" actId="20577"/>
        <pc:sldMkLst>
          <pc:docMk/>
          <pc:sldMk cId="2978036004" sldId="543"/>
        </pc:sldMkLst>
        <pc:spChg chg="mod">
          <ac:chgData name="Strübi, Silvan-MGB" userId="S::silvan.struebi@mgb.ch::95baf06b-2854-46e5-a239-42d5face947a" providerId="AD" clId="Web-{9EC84043-9FB0-4AD9-8011-F83CB44E36A1}" dt="2021-03-10T14:21:16.467" v="310" actId="20577"/>
          <ac:spMkLst>
            <pc:docMk/>
            <pc:sldMk cId="2978036004" sldId="543"/>
            <ac:spMk id="78" creationId="{00000000-0000-0000-0000-000000000000}"/>
          </ac:spMkLst>
        </pc:spChg>
      </pc:sldChg>
      <pc:sldChg chg="addSp delSp modSp add ord replId">
        <pc:chgData name="Strübi, Silvan-MGB" userId="S::silvan.struebi@mgb.ch::95baf06b-2854-46e5-a239-42d5face947a" providerId="AD" clId="Web-{9EC84043-9FB0-4AD9-8011-F83CB44E36A1}" dt="2021-03-10T14:53:13.552" v="650"/>
        <pc:sldMkLst>
          <pc:docMk/>
          <pc:sldMk cId="574507910" sldId="544"/>
        </pc:sldMkLst>
        <pc:spChg chg="add del mod">
          <ac:chgData name="Strübi, Silvan-MGB" userId="S::silvan.struebi@mgb.ch::95baf06b-2854-46e5-a239-42d5face947a" providerId="AD" clId="Web-{9EC84043-9FB0-4AD9-8011-F83CB44E36A1}" dt="2021-03-10T14:17:48.948" v="242"/>
          <ac:spMkLst>
            <pc:docMk/>
            <pc:sldMk cId="574507910" sldId="544"/>
            <ac:spMk id="7" creationId="{3E55CB2B-2058-4EDE-9EE5-20541F96AE23}"/>
          </ac:spMkLst>
        </pc:spChg>
        <pc:spChg chg="mod">
          <ac:chgData name="Strübi, Silvan-MGB" userId="S::silvan.struebi@mgb.ch::95baf06b-2854-46e5-a239-42d5face947a" providerId="AD" clId="Web-{9EC84043-9FB0-4AD9-8011-F83CB44E36A1}" dt="2021-03-10T14:16:27.260" v="236" actId="20577"/>
          <ac:spMkLst>
            <pc:docMk/>
            <pc:sldMk cId="574507910" sldId="544"/>
            <ac:spMk id="77" creationId="{00000000-0000-0000-0000-000000000000}"/>
          </ac:spMkLst>
        </pc:spChg>
        <pc:spChg chg="del mod">
          <ac:chgData name="Strübi, Silvan-MGB" userId="S::silvan.struebi@mgb.ch::95baf06b-2854-46e5-a239-42d5face947a" providerId="AD" clId="Web-{9EC84043-9FB0-4AD9-8011-F83CB44E36A1}" dt="2021-03-10T14:16:36.026" v="241"/>
          <ac:spMkLst>
            <pc:docMk/>
            <pc:sldMk cId="574507910" sldId="544"/>
            <ac:spMk id="78" creationId="{00000000-0000-0000-0000-000000000000}"/>
          </ac:spMkLst>
        </pc:spChg>
        <pc:spChg chg="mod">
          <ac:chgData name="Strübi, Silvan-MGB" userId="S::silvan.struebi@mgb.ch::95baf06b-2854-46e5-a239-42d5face947a" providerId="AD" clId="Web-{9EC84043-9FB0-4AD9-8011-F83CB44E36A1}" dt="2021-03-10T14:16:32.260" v="240" actId="20577"/>
          <ac:spMkLst>
            <pc:docMk/>
            <pc:sldMk cId="574507910" sldId="544"/>
            <ac:spMk id="79" creationId="{00000000-0000-0000-0000-000000000000}"/>
          </ac:spMkLst>
        </pc:spChg>
        <pc:picChg chg="del">
          <ac:chgData name="Strübi, Silvan-MGB" userId="S::silvan.struebi@mgb.ch::95baf06b-2854-46e5-a239-42d5face947a" providerId="AD" clId="Web-{9EC84043-9FB0-4AD9-8011-F83CB44E36A1}" dt="2021-03-10T14:16:01.400" v="199"/>
          <ac:picMkLst>
            <pc:docMk/>
            <pc:sldMk cId="574507910" sldId="544"/>
            <ac:picMk id="5" creationId="{9D3EF03E-94E0-4921-8557-56D49759399D}"/>
          </ac:picMkLst>
        </pc:picChg>
        <pc:picChg chg="add mod ord">
          <ac:chgData name="Strübi, Silvan-MGB" userId="S::silvan.struebi@mgb.ch::95baf06b-2854-46e5-a239-42d5face947a" providerId="AD" clId="Web-{9EC84043-9FB0-4AD9-8011-F83CB44E36A1}" dt="2021-03-10T14:17:58.964" v="246" actId="1076"/>
          <ac:picMkLst>
            <pc:docMk/>
            <pc:sldMk cId="574507910" sldId="544"/>
            <ac:picMk id="8" creationId="{43CE0B2F-B8F6-4928-A92C-1F16AB415745}"/>
          </ac:picMkLst>
        </pc:picChg>
      </pc:sldChg>
      <pc:sldChg chg="add del replId">
        <pc:chgData name="Strübi, Silvan-MGB" userId="S::silvan.struebi@mgb.ch::95baf06b-2854-46e5-a239-42d5face947a" providerId="AD" clId="Web-{9EC84043-9FB0-4AD9-8011-F83CB44E36A1}" dt="2021-03-10T14:15:47.900" v="195"/>
        <pc:sldMkLst>
          <pc:docMk/>
          <pc:sldMk cId="641309517" sldId="544"/>
        </pc:sldMkLst>
      </pc:sldChg>
      <pc:sldChg chg="modSp add replId">
        <pc:chgData name="Strübi, Silvan-MGB" userId="S::silvan.struebi@mgb.ch::95baf06b-2854-46e5-a239-42d5face947a" providerId="AD" clId="Web-{9EC84043-9FB0-4AD9-8011-F83CB44E36A1}" dt="2021-03-10T14:26:23.845" v="505" actId="20577"/>
        <pc:sldMkLst>
          <pc:docMk/>
          <pc:sldMk cId="911784802" sldId="545"/>
        </pc:sldMkLst>
        <pc:spChg chg="mod">
          <ac:chgData name="Strübi, Silvan-MGB" userId="S::silvan.struebi@mgb.ch::95baf06b-2854-46e5-a239-42d5face947a" providerId="AD" clId="Web-{9EC84043-9FB0-4AD9-8011-F83CB44E36A1}" dt="2021-03-10T14:26:23.845" v="505" actId="20577"/>
          <ac:spMkLst>
            <pc:docMk/>
            <pc:sldMk cId="911784802" sldId="545"/>
            <ac:spMk id="78" creationId="{00000000-0000-0000-0000-000000000000}"/>
          </ac:spMkLst>
        </pc:spChg>
      </pc:sldChg>
    </pc:docChg>
  </pc:docChgLst>
  <pc:docChgLst>
    <pc:chgData name="Schneider, Maria-MGB" userId="S::maria.schneider@mgb.ch::75347b56-268d-4748-8c0c-25c7171b43e4" providerId="AD" clId="Web-{8E1038D4-4F3D-44F8-9F0F-8CB012FDA9BE}"/>
    <pc:docChg chg="delSld modSld sldOrd">
      <pc:chgData name="Schneider, Maria-MGB" userId="S::maria.schneider@mgb.ch::75347b56-268d-4748-8c0c-25c7171b43e4" providerId="AD" clId="Web-{8E1038D4-4F3D-44F8-9F0F-8CB012FDA9BE}" dt="2021-04-21T13:05:04.462" v="258"/>
      <pc:docMkLst>
        <pc:docMk/>
      </pc:docMkLst>
      <pc:sldChg chg="addSp delSp modSp">
        <pc:chgData name="Schneider, Maria-MGB" userId="S::maria.schneider@mgb.ch::75347b56-268d-4748-8c0c-25c7171b43e4" providerId="AD" clId="Web-{8E1038D4-4F3D-44F8-9F0F-8CB012FDA9BE}" dt="2021-04-21T13:05:04.462" v="258"/>
        <pc:sldMkLst>
          <pc:docMk/>
          <pc:sldMk cId="1077379542" sldId="516"/>
        </pc:sldMkLst>
        <pc:spChg chg="add del mod">
          <ac:chgData name="Schneider, Maria-MGB" userId="S::maria.schneider@mgb.ch::75347b56-268d-4748-8c0c-25c7171b43e4" providerId="AD" clId="Web-{8E1038D4-4F3D-44F8-9F0F-8CB012FDA9BE}" dt="2021-04-21T12:43:12.311" v="3"/>
          <ac:spMkLst>
            <pc:docMk/>
            <pc:sldMk cId="1077379542" sldId="516"/>
            <ac:spMk id="4" creationId="{0C9EBC8C-2867-48AA-96B0-DA6001DB259E}"/>
          </ac:spMkLst>
        </pc:spChg>
        <pc:spChg chg="del">
          <ac:chgData name="Schneider, Maria-MGB" userId="S::maria.schneider@mgb.ch::75347b56-268d-4748-8c0c-25c7171b43e4" providerId="AD" clId="Web-{8E1038D4-4F3D-44F8-9F0F-8CB012FDA9BE}" dt="2021-04-21T12:27:38.483" v="0"/>
          <ac:spMkLst>
            <pc:docMk/>
            <pc:sldMk cId="1077379542" sldId="516"/>
            <ac:spMk id="17" creationId="{00000000-0000-0000-0000-000000000000}"/>
          </ac:spMkLst>
        </pc:spChg>
        <pc:spChg chg="mod">
          <ac:chgData name="Schneider, Maria-MGB" userId="S::maria.schneider@mgb.ch::75347b56-268d-4748-8c0c-25c7171b43e4" providerId="AD" clId="Web-{8E1038D4-4F3D-44F8-9F0F-8CB012FDA9BE}" dt="2021-04-21T13:04:56.461" v="256" actId="14100"/>
          <ac:spMkLst>
            <pc:docMk/>
            <pc:sldMk cId="1077379542" sldId="516"/>
            <ac:spMk id="21" creationId="{00000000-0000-0000-0000-000000000000}"/>
          </ac:spMkLst>
        </pc:spChg>
        <pc:picChg chg="add del">
          <ac:chgData name="Schneider, Maria-MGB" userId="S::maria.schneider@mgb.ch::75347b56-268d-4748-8c0c-25c7171b43e4" providerId="AD" clId="Web-{8E1038D4-4F3D-44F8-9F0F-8CB012FDA9BE}" dt="2021-04-21T13:05:04.462" v="258"/>
          <ac:picMkLst>
            <pc:docMk/>
            <pc:sldMk cId="1077379542" sldId="516"/>
            <ac:picMk id="2" creationId="{6883E6BB-8172-455B-9271-FDAC8BD21D99}"/>
          </ac:picMkLst>
        </pc:picChg>
      </pc:sldChg>
      <pc:sldChg chg="modSp">
        <pc:chgData name="Schneider, Maria-MGB" userId="S::maria.schneider@mgb.ch::75347b56-268d-4748-8c0c-25c7171b43e4" providerId="AD" clId="Web-{8E1038D4-4F3D-44F8-9F0F-8CB012FDA9BE}" dt="2021-04-21T12:57:33.025" v="241"/>
        <pc:sldMkLst>
          <pc:docMk/>
          <pc:sldMk cId="115928287" sldId="539"/>
        </pc:sldMkLst>
        <pc:graphicFrameChg chg="mod modGraphic">
          <ac:chgData name="Schneider, Maria-MGB" userId="S::maria.schneider@mgb.ch::75347b56-268d-4748-8c0c-25c7171b43e4" providerId="AD" clId="Web-{8E1038D4-4F3D-44F8-9F0F-8CB012FDA9BE}" dt="2021-04-21T12:57:33.025" v="241"/>
          <ac:graphicFrameMkLst>
            <pc:docMk/>
            <pc:sldMk cId="115928287" sldId="539"/>
            <ac:graphicFrameMk id="7" creationId="{00000000-0000-0000-0000-000000000000}"/>
          </ac:graphicFrameMkLst>
        </pc:graphicFrameChg>
      </pc:sldChg>
      <pc:sldChg chg="del">
        <pc:chgData name="Schneider, Maria-MGB" userId="S::maria.schneider@mgb.ch::75347b56-268d-4748-8c0c-25c7171b43e4" providerId="AD" clId="Web-{8E1038D4-4F3D-44F8-9F0F-8CB012FDA9BE}" dt="2021-04-21T12:44:47.271" v="14"/>
        <pc:sldMkLst>
          <pc:docMk/>
          <pc:sldMk cId="2544092619" sldId="540"/>
        </pc:sldMkLst>
      </pc:sldChg>
      <pc:sldChg chg="del">
        <pc:chgData name="Schneider, Maria-MGB" userId="S::maria.schneider@mgb.ch::75347b56-268d-4748-8c0c-25c7171b43e4" providerId="AD" clId="Web-{8E1038D4-4F3D-44F8-9F0F-8CB012FDA9BE}" dt="2021-04-21T12:44:42.442" v="13"/>
        <pc:sldMkLst>
          <pc:docMk/>
          <pc:sldMk cId="3023056854" sldId="541"/>
        </pc:sldMkLst>
      </pc:sldChg>
      <pc:sldChg chg="del">
        <pc:chgData name="Schneider, Maria-MGB" userId="S::maria.schneider@mgb.ch::75347b56-268d-4748-8c0c-25c7171b43e4" providerId="AD" clId="Web-{8E1038D4-4F3D-44F8-9F0F-8CB012FDA9BE}" dt="2021-04-21T12:44:36.551" v="12"/>
        <pc:sldMkLst>
          <pc:docMk/>
          <pc:sldMk cId="911784802" sldId="545"/>
        </pc:sldMkLst>
      </pc:sldChg>
      <pc:sldChg chg="modSp ord">
        <pc:chgData name="Schneider, Maria-MGB" userId="S::maria.schneider@mgb.ch::75347b56-268d-4748-8c0c-25c7171b43e4" providerId="AD" clId="Web-{8E1038D4-4F3D-44F8-9F0F-8CB012FDA9BE}" dt="2021-04-21T12:45:25.945" v="42" actId="14100"/>
        <pc:sldMkLst>
          <pc:docMk/>
          <pc:sldMk cId="4161403582" sldId="546"/>
        </pc:sldMkLst>
        <pc:spChg chg="mod">
          <ac:chgData name="Schneider, Maria-MGB" userId="S::maria.schneider@mgb.ch::75347b56-268d-4748-8c0c-25c7171b43e4" providerId="AD" clId="Web-{8E1038D4-4F3D-44F8-9F0F-8CB012FDA9BE}" dt="2021-04-21T12:45:12.007" v="29" actId="20577"/>
          <ac:spMkLst>
            <pc:docMk/>
            <pc:sldMk cId="4161403582" sldId="546"/>
            <ac:spMk id="77" creationId="{00000000-0000-0000-0000-000000000000}"/>
          </ac:spMkLst>
        </pc:spChg>
        <pc:spChg chg="mod">
          <ac:chgData name="Schneider, Maria-MGB" userId="S::maria.schneider@mgb.ch::75347b56-268d-4748-8c0c-25c7171b43e4" providerId="AD" clId="Web-{8E1038D4-4F3D-44F8-9F0F-8CB012FDA9BE}" dt="2021-04-21T12:45:25.945" v="42" actId="14100"/>
          <ac:spMkLst>
            <pc:docMk/>
            <pc:sldMk cId="4161403582" sldId="546"/>
            <ac:spMk id="79" creationId="{00000000-0000-0000-0000-000000000000}"/>
          </ac:spMkLst>
        </pc:spChg>
      </pc:sldChg>
      <pc:sldChg chg="del">
        <pc:chgData name="Schneider, Maria-MGB" userId="S::maria.schneider@mgb.ch::75347b56-268d-4748-8c0c-25c7171b43e4" providerId="AD" clId="Web-{8E1038D4-4F3D-44F8-9F0F-8CB012FDA9BE}" dt="2021-04-21T12:44:26.723" v="11"/>
        <pc:sldMkLst>
          <pc:docMk/>
          <pc:sldMk cId="2333739133" sldId="547"/>
        </pc:sldMkLst>
      </pc:sldChg>
    </pc:docChg>
  </pc:docChgLst>
  <pc:docChgLst>
    <pc:chgData name="Strübi, Silvan-MGB" userId="S::silvan.struebi@mgb.ch::95baf06b-2854-46e5-a239-42d5face947a" providerId="AD" clId="Web-{A7D28EA0-1E98-43CD-BF24-15541360159D}"/>
    <pc:docChg chg="modSld">
      <pc:chgData name="Strübi, Silvan-MGB" userId="S::silvan.struebi@mgb.ch::95baf06b-2854-46e5-a239-42d5face947a" providerId="AD" clId="Web-{A7D28EA0-1E98-43CD-BF24-15541360159D}" dt="2021-03-23T09:51:04.099" v="12" actId="20577"/>
      <pc:docMkLst>
        <pc:docMk/>
      </pc:docMkLst>
      <pc:sldChg chg="modSp">
        <pc:chgData name="Strübi, Silvan-MGB" userId="S::silvan.struebi@mgb.ch::95baf06b-2854-46e5-a239-42d5face947a" providerId="AD" clId="Web-{A7D28EA0-1E98-43CD-BF24-15541360159D}" dt="2021-03-23T09:51:04.099" v="12" actId="20577"/>
        <pc:sldMkLst>
          <pc:docMk/>
          <pc:sldMk cId="2978036004" sldId="543"/>
        </pc:sldMkLst>
        <pc:spChg chg="mod">
          <ac:chgData name="Strübi, Silvan-MGB" userId="S::silvan.struebi@mgb.ch::95baf06b-2854-46e5-a239-42d5face947a" providerId="AD" clId="Web-{A7D28EA0-1E98-43CD-BF24-15541360159D}" dt="2021-03-23T09:51:04.099" v="12" actId="20577"/>
          <ac:spMkLst>
            <pc:docMk/>
            <pc:sldMk cId="2978036004" sldId="543"/>
            <ac:spMk id="78" creationId="{00000000-0000-0000-0000-000000000000}"/>
          </ac:spMkLst>
        </pc:spChg>
      </pc:sldChg>
    </pc:docChg>
  </pc:docChgLst>
  <pc:docChgLst>
    <pc:chgData name="Schneider, Maria-MGB" userId="S::maria.schneider@mgb.ch::75347b56-268d-4748-8c0c-25c7171b43e4" providerId="AD" clId="Web-{E26D1752-A179-401B-9CC7-0BBEDE3C3E48}"/>
    <pc:docChg chg="modSld">
      <pc:chgData name="Schneider, Maria-MGB" userId="S::maria.schneider@mgb.ch::75347b56-268d-4748-8c0c-25c7171b43e4" providerId="AD" clId="Web-{E26D1752-A179-401B-9CC7-0BBEDE3C3E48}" dt="2021-04-27T09:12:03.895" v="11" actId="20577"/>
      <pc:docMkLst>
        <pc:docMk/>
      </pc:docMkLst>
      <pc:sldChg chg="modSp">
        <pc:chgData name="Schneider, Maria-MGB" userId="S::maria.schneider@mgb.ch::75347b56-268d-4748-8c0c-25c7171b43e4" providerId="AD" clId="Web-{E26D1752-A179-401B-9CC7-0BBEDE3C3E48}" dt="2021-04-27T09:10:48.156" v="9" actId="20577"/>
        <pc:sldMkLst>
          <pc:docMk/>
          <pc:sldMk cId="2978036004" sldId="543"/>
        </pc:sldMkLst>
        <pc:spChg chg="mod">
          <ac:chgData name="Schneider, Maria-MGB" userId="S::maria.schneider@mgb.ch::75347b56-268d-4748-8c0c-25c7171b43e4" providerId="AD" clId="Web-{E26D1752-A179-401B-9CC7-0BBEDE3C3E48}" dt="2021-04-27T09:10:48.156" v="9" actId="20577"/>
          <ac:spMkLst>
            <pc:docMk/>
            <pc:sldMk cId="2978036004" sldId="543"/>
            <ac:spMk id="78" creationId="{00000000-0000-0000-0000-000000000000}"/>
          </ac:spMkLst>
        </pc:spChg>
      </pc:sldChg>
      <pc:sldChg chg="modSp">
        <pc:chgData name="Schneider, Maria-MGB" userId="S::maria.schneider@mgb.ch::75347b56-268d-4748-8c0c-25c7171b43e4" providerId="AD" clId="Web-{E26D1752-A179-401B-9CC7-0BBEDE3C3E48}" dt="2021-04-27T09:12:03.895" v="11" actId="20577"/>
        <pc:sldMkLst>
          <pc:docMk/>
          <pc:sldMk cId="331375206" sldId="549"/>
        </pc:sldMkLst>
        <pc:spChg chg="mod">
          <ac:chgData name="Schneider, Maria-MGB" userId="S::maria.schneider@mgb.ch::75347b56-268d-4748-8c0c-25c7171b43e4" providerId="AD" clId="Web-{E26D1752-A179-401B-9CC7-0BBEDE3C3E48}" dt="2021-04-27T09:12:03.895" v="11" actId="20577"/>
          <ac:spMkLst>
            <pc:docMk/>
            <pc:sldMk cId="331375206" sldId="549"/>
            <ac:spMk id="78" creationId="{00000000-0000-0000-0000-000000000000}"/>
          </ac:spMkLst>
        </pc:spChg>
      </pc:sldChg>
    </pc:docChg>
  </pc:docChgLst>
  <pc:docChgLst>
    <pc:chgData name="Schneider, Maria-MGB" userId="S::maria.schneider@mgb.ch::75347b56-268d-4748-8c0c-25c7171b43e4" providerId="AD" clId="Web-{A15FDB74-BA15-48FF-826A-9CD431B47120}"/>
    <pc:docChg chg="modSld">
      <pc:chgData name="Schneider, Maria-MGB" userId="S::maria.schneider@mgb.ch::75347b56-268d-4748-8c0c-25c7171b43e4" providerId="AD" clId="Web-{A15FDB74-BA15-48FF-826A-9CD431B47120}" dt="2021-05-03T09:01:32.714" v="4" actId="1076"/>
      <pc:docMkLst>
        <pc:docMk/>
      </pc:docMkLst>
      <pc:sldChg chg="addSp modSp">
        <pc:chgData name="Schneider, Maria-MGB" userId="S::maria.schneider@mgb.ch::75347b56-268d-4748-8c0c-25c7171b43e4" providerId="AD" clId="Web-{A15FDB74-BA15-48FF-826A-9CD431B47120}" dt="2021-05-03T09:01:32.714" v="4" actId="1076"/>
        <pc:sldMkLst>
          <pc:docMk/>
          <pc:sldMk cId="490709109" sldId="537"/>
        </pc:sldMkLst>
        <pc:picChg chg="add mod">
          <ac:chgData name="Schneider, Maria-MGB" userId="S::maria.schneider@mgb.ch::75347b56-268d-4748-8c0c-25c7171b43e4" providerId="AD" clId="Web-{A15FDB74-BA15-48FF-826A-9CD431B47120}" dt="2021-05-03T09:01:32.714" v="4" actId="1076"/>
          <ac:picMkLst>
            <pc:docMk/>
            <pc:sldMk cId="490709109" sldId="537"/>
            <ac:picMk id="5" creationId="{6F0BB883-4923-4BD0-A8E1-EC9177B8A2A1}"/>
          </ac:picMkLst>
        </pc:picChg>
      </pc:sldChg>
    </pc:docChg>
  </pc:docChgLst>
  <pc:docChgLst>
    <pc:chgData name="Schneider, Maria-MGB" userId="75347b56-268d-4748-8c0c-25c7171b43e4" providerId="ADAL" clId="{1EBC1157-2E65-40F4-B1C6-D1BE4EEFD271}"/>
    <pc:docChg chg="custSel modSld">
      <pc:chgData name="Schneider, Maria-MGB" userId="75347b56-268d-4748-8c0c-25c7171b43e4" providerId="ADAL" clId="{1EBC1157-2E65-40F4-B1C6-D1BE4EEFD271}" dt="2021-03-23T07:11:41.607" v="152" actId="948"/>
      <pc:docMkLst>
        <pc:docMk/>
      </pc:docMkLst>
      <pc:sldChg chg="modSp mod">
        <pc:chgData name="Schneider, Maria-MGB" userId="75347b56-268d-4748-8c0c-25c7171b43e4" providerId="ADAL" clId="{1EBC1157-2E65-40F4-B1C6-D1BE4EEFD271}" dt="2021-03-23T07:11:12.004" v="149" actId="948"/>
        <pc:sldMkLst>
          <pc:docMk/>
          <pc:sldMk cId="490709109" sldId="537"/>
        </pc:sldMkLst>
        <pc:spChg chg="mod">
          <ac:chgData name="Schneider, Maria-MGB" userId="75347b56-268d-4748-8c0c-25c7171b43e4" providerId="ADAL" clId="{1EBC1157-2E65-40F4-B1C6-D1BE4EEFD271}" dt="2021-03-23T07:11:12.004" v="149" actId="948"/>
          <ac:spMkLst>
            <pc:docMk/>
            <pc:sldMk cId="490709109" sldId="537"/>
            <ac:spMk id="78" creationId="{00000000-0000-0000-0000-000000000000}"/>
          </ac:spMkLst>
        </pc:spChg>
      </pc:sldChg>
      <pc:sldChg chg="modSp mod">
        <pc:chgData name="Schneider, Maria-MGB" userId="75347b56-268d-4748-8c0c-25c7171b43e4" providerId="ADAL" clId="{1EBC1157-2E65-40F4-B1C6-D1BE4EEFD271}" dt="2021-03-23T07:11:26.593" v="150" actId="948"/>
        <pc:sldMkLst>
          <pc:docMk/>
          <pc:sldMk cId="2544092619" sldId="540"/>
        </pc:sldMkLst>
        <pc:spChg chg="mod">
          <ac:chgData name="Schneider, Maria-MGB" userId="75347b56-268d-4748-8c0c-25c7171b43e4" providerId="ADAL" clId="{1EBC1157-2E65-40F4-B1C6-D1BE4EEFD271}" dt="2021-03-23T07:11:26.593" v="150" actId="948"/>
          <ac:spMkLst>
            <pc:docMk/>
            <pc:sldMk cId="2544092619" sldId="540"/>
            <ac:spMk id="78" creationId="{00000000-0000-0000-0000-000000000000}"/>
          </ac:spMkLst>
        </pc:spChg>
      </pc:sldChg>
      <pc:sldChg chg="modSp mod">
        <pc:chgData name="Schneider, Maria-MGB" userId="75347b56-268d-4748-8c0c-25c7171b43e4" providerId="ADAL" clId="{1EBC1157-2E65-40F4-B1C6-D1BE4EEFD271}" dt="2021-03-23T07:11:41.607" v="152" actId="948"/>
        <pc:sldMkLst>
          <pc:docMk/>
          <pc:sldMk cId="3023056854" sldId="541"/>
        </pc:sldMkLst>
        <pc:spChg chg="mod">
          <ac:chgData name="Schneider, Maria-MGB" userId="75347b56-268d-4748-8c0c-25c7171b43e4" providerId="ADAL" clId="{1EBC1157-2E65-40F4-B1C6-D1BE4EEFD271}" dt="2021-03-23T07:11:41.607" v="152" actId="948"/>
          <ac:spMkLst>
            <pc:docMk/>
            <pc:sldMk cId="3023056854" sldId="541"/>
            <ac:spMk id="78" creationId="{00000000-0000-0000-0000-000000000000}"/>
          </ac:spMkLst>
        </pc:spChg>
      </pc:sldChg>
      <pc:sldChg chg="modSp mod">
        <pc:chgData name="Schneider, Maria-MGB" userId="75347b56-268d-4748-8c0c-25c7171b43e4" providerId="ADAL" clId="{1EBC1157-2E65-40F4-B1C6-D1BE4EEFD271}" dt="2021-03-23T07:09:04.441" v="128" actId="20577"/>
        <pc:sldMkLst>
          <pc:docMk/>
          <pc:sldMk cId="1825493358" sldId="542"/>
        </pc:sldMkLst>
        <pc:spChg chg="mod">
          <ac:chgData name="Schneider, Maria-MGB" userId="75347b56-268d-4748-8c0c-25c7171b43e4" providerId="ADAL" clId="{1EBC1157-2E65-40F4-B1C6-D1BE4EEFD271}" dt="2021-03-23T07:09:04.441" v="128" actId="20577"/>
          <ac:spMkLst>
            <pc:docMk/>
            <pc:sldMk cId="1825493358" sldId="542"/>
            <ac:spMk id="84" creationId="{FF6EE600-6156-4EFA-BF8B-6D7EBC0B6A2D}"/>
          </ac:spMkLst>
        </pc:spChg>
      </pc:sldChg>
      <pc:sldChg chg="modSp">
        <pc:chgData name="Schneider, Maria-MGB" userId="75347b56-268d-4748-8c0c-25c7171b43e4" providerId="ADAL" clId="{1EBC1157-2E65-40F4-B1C6-D1BE4EEFD271}" dt="2021-03-23T07:07:29.654" v="14" actId="207"/>
        <pc:sldMkLst>
          <pc:docMk/>
          <pc:sldMk cId="2978036004" sldId="543"/>
        </pc:sldMkLst>
        <pc:spChg chg="mod">
          <ac:chgData name="Schneider, Maria-MGB" userId="75347b56-268d-4748-8c0c-25c7171b43e4" providerId="ADAL" clId="{1EBC1157-2E65-40F4-B1C6-D1BE4EEFD271}" dt="2021-03-23T07:07:29.654" v="14" actId="207"/>
          <ac:spMkLst>
            <pc:docMk/>
            <pc:sldMk cId="2978036004" sldId="543"/>
            <ac:spMk id="78" creationId="{00000000-0000-0000-0000-000000000000}"/>
          </ac:spMkLst>
        </pc:spChg>
      </pc:sldChg>
      <pc:sldChg chg="modSp mod">
        <pc:chgData name="Schneider, Maria-MGB" userId="75347b56-268d-4748-8c0c-25c7171b43e4" providerId="ADAL" clId="{1EBC1157-2E65-40F4-B1C6-D1BE4EEFD271}" dt="2021-03-23T07:07:12.731" v="11" actId="20577"/>
        <pc:sldMkLst>
          <pc:docMk/>
          <pc:sldMk cId="911784802" sldId="545"/>
        </pc:sldMkLst>
        <pc:spChg chg="mod">
          <ac:chgData name="Schneider, Maria-MGB" userId="75347b56-268d-4748-8c0c-25c7171b43e4" providerId="ADAL" clId="{1EBC1157-2E65-40F4-B1C6-D1BE4EEFD271}" dt="2021-03-23T07:07:12.731" v="11" actId="20577"/>
          <ac:spMkLst>
            <pc:docMk/>
            <pc:sldMk cId="911784802" sldId="545"/>
            <ac:spMk id="78" creationId="{00000000-0000-0000-0000-000000000000}"/>
          </ac:spMkLst>
        </pc:spChg>
      </pc:sldChg>
    </pc:docChg>
  </pc:docChgLst>
  <pc:docChgLst>
    <pc:chgData name="Berger, Valentin-MGB" userId="S::valentin.berger@mgb.ch::af54b3ce-296a-4c5c-b791-3a7b97f92b2e" providerId="AD" clId="Web-{F15A95AC-F781-42B7-9899-FAA2B36E7C24}"/>
    <pc:docChg chg="addSld delSld modSld">
      <pc:chgData name="Berger, Valentin-MGB" userId="S::valentin.berger@mgb.ch::af54b3ce-296a-4c5c-b791-3a7b97f92b2e" providerId="AD" clId="Web-{F15A95AC-F781-42B7-9899-FAA2B36E7C24}" dt="2021-04-21T12:55:49.211" v="411" actId="20577"/>
      <pc:docMkLst>
        <pc:docMk/>
      </pc:docMkLst>
      <pc:sldChg chg="delSp modSp add del">
        <pc:chgData name="Berger, Valentin-MGB" userId="S::valentin.berger@mgb.ch::af54b3ce-296a-4c5c-b791-3a7b97f92b2e" providerId="AD" clId="Web-{F15A95AC-F781-42B7-9899-FAA2B36E7C24}" dt="2021-04-21T12:54:49.945" v="401" actId="20577"/>
        <pc:sldMkLst>
          <pc:docMk/>
          <pc:sldMk cId="490709109" sldId="537"/>
        </pc:sldMkLst>
        <pc:spChg chg="del">
          <ac:chgData name="Berger, Valentin-MGB" userId="S::valentin.berger@mgb.ch::af54b3ce-296a-4c5c-b791-3a7b97f92b2e" providerId="AD" clId="Web-{F15A95AC-F781-42B7-9899-FAA2B36E7C24}" dt="2021-04-21T12:38:45.875" v="121"/>
          <ac:spMkLst>
            <pc:docMk/>
            <pc:sldMk cId="490709109" sldId="537"/>
            <ac:spMk id="9" creationId="{7DA781C0-A15A-48F4-88CD-791B45655B78}"/>
          </ac:spMkLst>
        </pc:spChg>
        <pc:spChg chg="mod">
          <ac:chgData name="Berger, Valentin-MGB" userId="S::valentin.berger@mgb.ch::af54b3ce-296a-4c5c-b791-3a7b97f92b2e" providerId="AD" clId="Web-{F15A95AC-F781-42B7-9899-FAA2B36E7C24}" dt="2021-04-21T12:38:37.734" v="120" actId="20577"/>
          <ac:spMkLst>
            <pc:docMk/>
            <pc:sldMk cId="490709109" sldId="537"/>
            <ac:spMk id="77" creationId="{00000000-0000-0000-0000-000000000000}"/>
          </ac:spMkLst>
        </pc:spChg>
        <pc:spChg chg="mod">
          <ac:chgData name="Berger, Valentin-MGB" userId="S::valentin.berger@mgb.ch::af54b3ce-296a-4c5c-b791-3a7b97f92b2e" providerId="AD" clId="Web-{F15A95AC-F781-42B7-9899-FAA2B36E7C24}" dt="2021-04-21T12:54:49.945" v="401" actId="20577"/>
          <ac:spMkLst>
            <pc:docMk/>
            <pc:sldMk cId="490709109" sldId="537"/>
            <ac:spMk id="78" creationId="{00000000-0000-0000-0000-000000000000}"/>
          </ac:spMkLst>
        </pc:spChg>
        <pc:picChg chg="del">
          <ac:chgData name="Berger, Valentin-MGB" userId="S::valentin.berger@mgb.ch::af54b3ce-296a-4c5c-b791-3a7b97f92b2e" providerId="AD" clId="Web-{F15A95AC-F781-42B7-9899-FAA2B36E7C24}" dt="2021-04-21T12:38:46.422" v="122"/>
          <ac:picMkLst>
            <pc:docMk/>
            <pc:sldMk cId="490709109" sldId="537"/>
            <ac:picMk id="5" creationId="{11864D67-E521-47D9-B294-D288AB9C6EA5}"/>
          </ac:picMkLst>
        </pc:picChg>
      </pc:sldChg>
      <pc:sldChg chg="modSp">
        <pc:chgData name="Berger, Valentin-MGB" userId="S::valentin.berger@mgb.ch::af54b3ce-296a-4c5c-b791-3a7b97f92b2e" providerId="AD" clId="Web-{F15A95AC-F781-42B7-9899-FAA2B36E7C24}" dt="2021-04-21T12:45:14.581" v="268"/>
        <pc:sldMkLst>
          <pc:docMk/>
          <pc:sldMk cId="115928287" sldId="539"/>
        </pc:sldMkLst>
        <pc:graphicFrameChg chg="mod modGraphic">
          <ac:chgData name="Berger, Valentin-MGB" userId="S::valentin.berger@mgb.ch::af54b3ce-296a-4c5c-b791-3a7b97f92b2e" providerId="AD" clId="Web-{F15A95AC-F781-42B7-9899-FAA2B36E7C24}" dt="2021-04-21T12:45:14.581" v="268"/>
          <ac:graphicFrameMkLst>
            <pc:docMk/>
            <pc:sldMk cId="115928287" sldId="539"/>
            <ac:graphicFrameMk id="7" creationId="{00000000-0000-0000-0000-000000000000}"/>
          </ac:graphicFrameMkLst>
        </pc:graphicFrameChg>
      </pc:sldChg>
      <pc:sldChg chg="del">
        <pc:chgData name="Berger, Valentin-MGB" userId="S::valentin.berger@mgb.ch::af54b3ce-296a-4c5c-b791-3a7b97f92b2e" providerId="AD" clId="Web-{F15A95AC-F781-42B7-9899-FAA2B36E7C24}" dt="2021-04-21T12:50:05.614" v="294"/>
        <pc:sldMkLst>
          <pc:docMk/>
          <pc:sldMk cId="1825493358" sldId="542"/>
        </pc:sldMkLst>
      </pc:sldChg>
      <pc:sldChg chg="addSp delSp modSp">
        <pc:chgData name="Berger, Valentin-MGB" userId="S::valentin.berger@mgb.ch::af54b3ce-296a-4c5c-b791-3a7b97f92b2e" providerId="AD" clId="Web-{F15A95AC-F781-42B7-9899-FAA2B36E7C24}" dt="2021-04-21T12:53:15.991" v="399" actId="20577"/>
        <pc:sldMkLst>
          <pc:docMk/>
          <pc:sldMk cId="4161403582" sldId="546"/>
        </pc:sldMkLst>
        <pc:spChg chg="add mod">
          <ac:chgData name="Berger, Valentin-MGB" userId="S::valentin.berger@mgb.ch::af54b3ce-296a-4c5c-b791-3a7b97f92b2e" providerId="AD" clId="Web-{F15A95AC-F781-42B7-9899-FAA2B36E7C24}" dt="2021-04-21T12:53:15.991" v="399" actId="20577"/>
          <ac:spMkLst>
            <pc:docMk/>
            <pc:sldMk cId="4161403582" sldId="546"/>
            <ac:spMk id="5" creationId="{00832A0B-8F2C-4BE2-894B-6D63E5BF8F21}"/>
          </ac:spMkLst>
        </pc:spChg>
        <pc:picChg chg="del">
          <ac:chgData name="Berger, Valentin-MGB" userId="S::valentin.berger@mgb.ch::af54b3ce-296a-4c5c-b791-3a7b97f92b2e" providerId="AD" clId="Web-{F15A95AC-F781-42B7-9899-FAA2B36E7C24}" dt="2021-04-21T12:50:46.849" v="296"/>
          <ac:picMkLst>
            <pc:docMk/>
            <pc:sldMk cId="4161403582" sldId="546"/>
            <ac:picMk id="6" creationId="{14165034-A3F1-4BAF-ADDA-DA975518394F}"/>
          </ac:picMkLst>
        </pc:picChg>
      </pc:sldChg>
      <pc:sldChg chg="modSp add replId">
        <pc:chgData name="Berger, Valentin-MGB" userId="S::valentin.berger@mgb.ch::af54b3ce-296a-4c5c-b791-3a7b97f92b2e" providerId="AD" clId="Web-{F15A95AC-F781-42B7-9899-FAA2B36E7C24}" dt="2021-04-21T12:46:49.613" v="280" actId="14100"/>
        <pc:sldMkLst>
          <pc:docMk/>
          <pc:sldMk cId="2562592226" sldId="548"/>
        </pc:sldMkLst>
        <pc:spChg chg="mod">
          <ac:chgData name="Berger, Valentin-MGB" userId="S::valentin.berger@mgb.ch::af54b3ce-296a-4c5c-b791-3a7b97f92b2e" providerId="AD" clId="Web-{F15A95AC-F781-42B7-9899-FAA2B36E7C24}" dt="2021-04-21T12:44:27.581" v="206" actId="20577"/>
          <ac:spMkLst>
            <pc:docMk/>
            <pc:sldMk cId="2562592226" sldId="548"/>
            <ac:spMk id="77" creationId="{00000000-0000-0000-0000-000000000000}"/>
          </ac:spMkLst>
        </pc:spChg>
        <pc:spChg chg="mod">
          <ac:chgData name="Berger, Valentin-MGB" userId="S::valentin.berger@mgb.ch::af54b3ce-296a-4c5c-b791-3a7b97f92b2e" providerId="AD" clId="Web-{F15A95AC-F781-42B7-9899-FAA2B36E7C24}" dt="2021-04-21T12:46:49.613" v="280" actId="14100"/>
          <ac:spMkLst>
            <pc:docMk/>
            <pc:sldMk cId="2562592226" sldId="548"/>
            <ac:spMk id="78" creationId="{00000000-0000-0000-0000-000000000000}"/>
          </ac:spMkLst>
        </pc:spChg>
      </pc:sldChg>
      <pc:sldChg chg="modSp add replId">
        <pc:chgData name="Berger, Valentin-MGB" userId="S::valentin.berger@mgb.ch::af54b3ce-296a-4c5c-b791-3a7b97f92b2e" providerId="AD" clId="Web-{F15A95AC-F781-42B7-9899-FAA2B36E7C24}" dt="2021-04-21T12:49:32.380" v="287" actId="20577"/>
        <pc:sldMkLst>
          <pc:docMk/>
          <pc:sldMk cId="331375206" sldId="549"/>
        </pc:sldMkLst>
        <pc:spChg chg="mod">
          <ac:chgData name="Berger, Valentin-MGB" userId="S::valentin.berger@mgb.ch::af54b3ce-296a-4c5c-b791-3a7b97f92b2e" providerId="AD" clId="Web-{F15A95AC-F781-42B7-9899-FAA2B36E7C24}" dt="2021-04-21T12:49:28.536" v="286" actId="20577"/>
          <ac:spMkLst>
            <pc:docMk/>
            <pc:sldMk cId="331375206" sldId="549"/>
            <ac:spMk id="77" creationId="{00000000-0000-0000-0000-000000000000}"/>
          </ac:spMkLst>
        </pc:spChg>
        <pc:spChg chg="mod">
          <ac:chgData name="Berger, Valentin-MGB" userId="S::valentin.berger@mgb.ch::af54b3ce-296a-4c5c-b791-3a7b97f92b2e" providerId="AD" clId="Web-{F15A95AC-F781-42B7-9899-FAA2B36E7C24}" dt="2021-04-21T12:49:32.380" v="287" actId="20577"/>
          <ac:spMkLst>
            <pc:docMk/>
            <pc:sldMk cId="331375206" sldId="549"/>
            <ac:spMk id="78" creationId="{00000000-0000-0000-0000-000000000000}"/>
          </ac:spMkLst>
        </pc:spChg>
      </pc:sldChg>
      <pc:sldChg chg="modSp add replId">
        <pc:chgData name="Berger, Valentin-MGB" userId="S::valentin.berger@mgb.ch::af54b3ce-296a-4c5c-b791-3a7b97f92b2e" providerId="AD" clId="Web-{F15A95AC-F781-42B7-9899-FAA2B36E7C24}" dt="2021-04-21T12:55:49.211" v="411" actId="20577"/>
        <pc:sldMkLst>
          <pc:docMk/>
          <pc:sldMk cId="2338016886" sldId="550"/>
        </pc:sldMkLst>
        <pc:spChg chg="mod">
          <ac:chgData name="Berger, Valentin-MGB" userId="S::valentin.berger@mgb.ch::af54b3ce-296a-4c5c-b791-3a7b97f92b2e" providerId="AD" clId="Web-{F15A95AC-F781-42B7-9899-FAA2B36E7C24}" dt="2021-04-21T12:49:45.958" v="290" actId="20577"/>
          <ac:spMkLst>
            <pc:docMk/>
            <pc:sldMk cId="2338016886" sldId="550"/>
            <ac:spMk id="77" creationId="{00000000-0000-0000-0000-000000000000}"/>
          </ac:spMkLst>
        </pc:spChg>
        <pc:spChg chg="mod">
          <ac:chgData name="Berger, Valentin-MGB" userId="S::valentin.berger@mgb.ch::af54b3ce-296a-4c5c-b791-3a7b97f92b2e" providerId="AD" clId="Web-{F15A95AC-F781-42B7-9899-FAA2B36E7C24}" dt="2021-04-21T12:55:49.211" v="411" actId="20577"/>
          <ac:spMkLst>
            <pc:docMk/>
            <pc:sldMk cId="2338016886" sldId="550"/>
            <ac:spMk id="78" creationId="{00000000-0000-0000-0000-000000000000}"/>
          </ac:spMkLst>
        </pc:spChg>
      </pc:sldChg>
      <pc:sldChg chg="add del replId">
        <pc:chgData name="Berger, Valentin-MGB" userId="S::valentin.berger@mgb.ch::af54b3ce-296a-4c5c-b791-3a7b97f92b2e" providerId="AD" clId="Web-{F15A95AC-F781-42B7-9899-FAA2B36E7C24}" dt="2021-04-21T12:50:28.271" v="295"/>
        <pc:sldMkLst>
          <pc:docMk/>
          <pc:sldMk cId="3733479775" sldId="551"/>
        </pc:sldMkLst>
      </pc:sldChg>
      <pc:sldChg chg="modSp add replId">
        <pc:chgData name="Berger, Valentin-MGB" userId="S::valentin.berger@mgb.ch::af54b3ce-296a-4c5c-b791-3a7b97f92b2e" providerId="AD" clId="Web-{F15A95AC-F781-42B7-9899-FAA2B36E7C24}" dt="2021-04-21T12:50:02.911" v="293" actId="20577"/>
        <pc:sldMkLst>
          <pc:docMk/>
          <pc:sldMk cId="1568249252" sldId="552"/>
        </pc:sldMkLst>
        <pc:spChg chg="mod">
          <ac:chgData name="Berger, Valentin-MGB" userId="S::valentin.berger@mgb.ch::af54b3ce-296a-4c5c-b791-3a7b97f92b2e" providerId="AD" clId="Web-{F15A95AC-F781-42B7-9899-FAA2B36E7C24}" dt="2021-04-21T12:50:02.911" v="293" actId="20577"/>
          <ac:spMkLst>
            <pc:docMk/>
            <pc:sldMk cId="1568249252" sldId="552"/>
            <ac:spMk id="77" creationId="{00000000-0000-0000-0000-000000000000}"/>
          </ac:spMkLst>
        </pc:spChg>
      </pc:sldChg>
    </pc:docChg>
  </pc:docChgLst>
  <pc:docChgLst>
    <pc:chgData name="Schneider, Maria-MGB" userId="S::maria.schneider@mgb.ch::75347b56-268d-4748-8c0c-25c7171b43e4" providerId="AD" clId="Web-{3B0C3C47-BCA8-4BFA-84D0-7C0638C88479}"/>
    <pc:docChg chg="modSld">
      <pc:chgData name="Schneider, Maria-MGB" userId="S::maria.schneider@mgb.ch::75347b56-268d-4748-8c0c-25c7171b43e4" providerId="AD" clId="Web-{3B0C3C47-BCA8-4BFA-84D0-7C0638C88479}" dt="2021-04-21T13:18:34.670" v="2"/>
      <pc:docMkLst>
        <pc:docMk/>
      </pc:docMkLst>
      <pc:sldChg chg="modSp">
        <pc:chgData name="Schneider, Maria-MGB" userId="S::maria.schneider@mgb.ch::75347b56-268d-4748-8c0c-25c7171b43e4" providerId="AD" clId="Web-{3B0C3C47-BCA8-4BFA-84D0-7C0638C88479}" dt="2021-04-21T13:18:34.670" v="2"/>
        <pc:sldMkLst>
          <pc:docMk/>
          <pc:sldMk cId="1077379542" sldId="516"/>
        </pc:sldMkLst>
        <pc:spChg chg="mod">
          <ac:chgData name="Schneider, Maria-MGB" userId="S::maria.schneider@mgb.ch::75347b56-268d-4748-8c0c-25c7171b43e4" providerId="AD" clId="Web-{3B0C3C47-BCA8-4BFA-84D0-7C0638C88479}" dt="2021-04-21T13:12:12.468" v="1" actId="14100"/>
          <ac:spMkLst>
            <pc:docMk/>
            <pc:sldMk cId="1077379542" sldId="516"/>
            <ac:spMk id="21" creationId="{00000000-0000-0000-0000-000000000000}"/>
          </ac:spMkLst>
        </pc:spChg>
        <pc:picChg chg="mod">
          <ac:chgData name="Schneider, Maria-MGB" userId="S::maria.schneider@mgb.ch::75347b56-268d-4748-8c0c-25c7171b43e4" providerId="AD" clId="Web-{3B0C3C47-BCA8-4BFA-84D0-7C0638C88479}" dt="2021-04-21T13:18:34.670" v="2"/>
          <ac:picMkLst>
            <pc:docMk/>
            <pc:sldMk cId="1077379542" sldId="516"/>
            <ac:picMk id="2" creationId="{6883E6BB-8172-455B-9271-FDAC8BD21D99}"/>
          </ac:picMkLst>
        </pc:picChg>
      </pc:sldChg>
    </pc:docChg>
  </pc:docChgLst>
  <pc:docChgLst>
    <pc:chgData name="Strübi, Silvan-MGB" userId="S::silvan.struebi@mgb.ch::95baf06b-2854-46e5-a239-42d5face947a" providerId="AD" clId="Web-{FEB9F3B8-7D9D-4AD0-9926-E6A17FAF0602}"/>
    <pc:docChg chg="addSld modSld">
      <pc:chgData name="Strübi, Silvan-MGB" userId="S::silvan.struebi@mgb.ch::95baf06b-2854-46e5-a239-42d5face947a" providerId="AD" clId="Web-{FEB9F3B8-7D9D-4AD0-9926-E6A17FAF0602}" dt="2021-03-10T14:06:21.990" v="778" actId="20577"/>
      <pc:docMkLst>
        <pc:docMk/>
      </pc:docMkLst>
      <pc:sldChg chg="delSp modSp">
        <pc:chgData name="Strübi, Silvan-MGB" userId="S::silvan.struebi@mgb.ch::95baf06b-2854-46e5-a239-42d5face947a" providerId="AD" clId="Web-{FEB9F3B8-7D9D-4AD0-9926-E6A17FAF0602}" dt="2021-03-10T13:29:20.676" v="143"/>
        <pc:sldMkLst>
          <pc:docMk/>
          <pc:sldMk cId="1077379542" sldId="516"/>
        </pc:sldMkLst>
        <pc:spChg chg="mod">
          <ac:chgData name="Strübi, Silvan-MGB" userId="S::silvan.struebi@mgb.ch::95baf06b-2854-46e5-a239-42d5face947a" providerId="AD" clId="Web-{FEB9F3B8-7D9D-4AD0-9926-E6A17FAF0602}" dt="2021-03-10T13:28:27.410" v="54" actId="20577"/>
          <ac:spMkLst>
            <pc:docMk/>
            <pc:sldMk cId="1077379542" sldId="516"/>
            <ac:spMk id="17" creationId="{00000000-0000-0000-0000-000000000000}"/>
          </ac:spMkLst>
        </pc:spChg>
        <pc:spChg chg="mod">
          <ac:chgData name="Strübi, Silvan-MGB" userId="S::silvan.struebi@mgb.ch::95baf06b-2854-46e5-a239-42d5face947a" providerId="AD" clId="Web-{FEB9F3B8-7D9D-4AD0-9926-E6A17FAF0602}" dt="2021-03-10T13:28:56.895" v="108" actId="20577"/>
          <ac:spMkLst>
            <pc:docMk/>
            <pc:sldMk cId="1077379542" sldId="516"/>
            <ac:spMk id="18" creationId="{00000000-0000-0000-0000-000000000000}"/>
          </ac:spMkLst>
        </pc:spChg>
        <pc:spChg chg="mod">
          <ac:chgData name="Strübi, Silvan-MGB" userId="S::silvan.struebi@mgb.ch::95baf06b-2854-46e5-a239-42d5face947a" providerId="AD" clId="Web-{FEB9F3B8-7D9D-4AD0-9926-E6A17FAF0602}" dt="2021-03-10T13:29:06.285" v="142" actId="20577"/>
          <ac:spMkLst>
            <pc:docMk/>
            <pc:sldMk cId="1077379542" sldId="516"/>
            <ac:spMk id="19" creationId="{00000000-0000-0000-0000-000000000000}"/>
          </ac:spMkLst>
        </pc:spChg>
        <pc:spChg chg="del">
          <ac:chgData name="Strübi, Silvan-MGB" userId="S::silvan.struebi@mgb.ch::95baf06b-2854-46e5-a239-42d5face947a" providerId="AD" clId="Web-{FEB9F3B8-7D9D-4AD0-9926-E6A17FAF0602}" dt="2021-03-10T13:29:20.676" v="143"/>
          <ac:spMkLst>
            <pc:docMk/>
            <pc:sldMk cId="1077379542" sldId="516"/>
            <ac:spMk id="20" creationId="{00000000-0000-0000-0000-000000000000}"/>
          </ac:spMkLst>
        </pc:spChg>
        <pc:spChg chg="mod">
          <ac:chgData name="Strübi, Silvan-MGB" userId="S::silvan.struebi@mgb.ch::95baf06b-2854-46e5-a239-42d5face947a" providerId="AD" clId="Web-{FEB9F3B8-7D9D-4AD0-9926-E6A17FAF0602}" dt="2021-03-10T13:28:43.598" v="78" actId="20577"/>
          <ac:spMkLst>
            <pc:docMk/>
            <pc:sldMk cId="1077379542" sldId="516"/>
            <ac:spMk id="21" creationId="{00000000-0000-0000-0000-000000000000}"/>
          </ac:spMkLst>
        </pc:spChg>
      </pc:sldChg>
      <pc:sldChg chg="addSp delSp modSp">
        <pc:chgData name="Strübi, Silvan-MGB" userId="S::silvan.struebi@mgb.ch::95baf06b-2854-46e5-a239-42d5face947a" providerId="AD" clId="Web-{FEB9F3B8-7D9D-4AD0-9926-E6A17FAF0602}" dt="2021-03-10T14:06:21.990" v="778" actId="20577"/>
        <pc:sldMkLst>
          <pc:docMk/>
          <pc:sldMk cId="490709109" sldId="537"/>
        </pc:sldMkLst>
        <pc:spChg chg="del mod">
          <ac:chgData name="Strübi, Silvan-MGB" userId="S::silvan.struebi@mgb.ch::95baf06b-2854-46e5-a239-42d5face947a" providerId="AD" clId="Web-{FEB9F3B8-7D9D-4AD0-9926-E6A17FAF0602}" dt="2021-03-10T13:45:36.097" v="463"/>
          <ac:spMkLst>
            <pc:docMk/>
            <pc:sldMk cId="490709109" sldId="537"/>
            <ac:spMk id="5" creationId="{16933CBA-C5FD-4123-9526-766BB936106B}"/>
          </ac:spMkLst>
        </pc:spChg>
        <pc:spChg chg="mod">
          <ac:chgData name="Strübi, Silvan-MGB" userId="S::silvan.struebi@mgb.ch::95baf06b-2854-46e5-a239-42d5face947a" providerId="AD" clId="Web-{FEB9F3B8-7D9D-4AD0-9926-E6A17FAF0602}" dt="2021-03-10T13:32:56.258" v="397" actId="20577"/>
          <ac:spMkLst>
            <pc:docMk/>
            <pc:sldMk cId="490709109" sldId="537"/>
            <ac:spMk id="77" creationId="{00000000-0000-0000-0000-000000000000}"/>
          </ac:spMkLst>
        </pc:spChg>
        <pc:spChg chg="mod">
          <ac:chgData name="Strübi, Silvan-MGB" userId="S::silvan.struebi@mgb.ch::95baf06b-2854-46e5-a239-42d5face947a" providerId="AD" clId="Web-{FEB9F3B8-7D9D-4AD0-9926-E6A17FAF0602}" dt="2021-03-10T14:06:21.990" v="778" actId="20577"/>
          <ac:spMkLst>
            <pc:docMk/>
            <pc:sldMk cId="490709109" sldId="537"/>
            <ac:spMk id="78" creationId="{00000000-0000-0000-0000-000000000000}"/>
          </ac:spMkLst>
        </pc:spChg>
        <pc:spChg chg="mod">
          <ac:chgData name="Strübi, Silvan-MGB" userId="S::silvan.struebi@mgb.ch::95baf06b-2854-46e5-a239-42d5face947a" providerId="AD" clId="Web-{FEB9F3B8-7D9D-4AD0-9926-E6A17FAF0602}" dt="2021-03-10T13:33:43.258" v="416" actId="20577"/>
          <ac:spMkLst>
            <pc:docMk/>
            <pc:sldMk cId="490709109" sldId="537"/>
            <ac:spMk id="79" creationId="{00000000-0000-0000-0000-000000000000}"/>
          </ac:spMkLst>
        </pc:spChg>
        <pc:picChg chg="add mod">
          <ac:chgData name="Strübi, Silvan-MGB" userId="S::silvan.struebi@mgb.ch::95baf06b-2854-46e5-a239-42d5face947a" providerId="AD" clId="Web-{FEB9F3B8-7D9D-4AD0-9926-E6A17FAF0602}" dt="2021-03-10T13:47:39.927" v="468" actId="14100"/>
          <ac:picMkLst>
            <pc:docMk/>
            <pc:sldMk cId="490709109" sldId="537"/>
            <ac:picMk id="6" creationId="{14165034-A3F1-4BAF-ADDA-DA975518394F}"/>
          </ac:picMkLst>
        </pc:picChg>
      </pc:sldChg>
      <pc:sldChg chg="modSp">
        <pc:chgData name="Strübi, Silvan-MGB" userId="S::silvan.struebi@mgb.ch::95baf06b-2854-46e5-a239-42d5face947a" providerId="AD" clId="Web-{FEB9F3B8-7D9D-4AD0-9926-E6A17FAF0602}" dt="2021-03-10T13:51:54.962" v="482"/>
        <pc:sldMkLst>
          <pc:docMk/>
          <pc:sldMk cId="115928287" sldId="539"/>
        </pc:sldMkLst>
        <pc:spChg chg="mod">
          <ac:chgData name="Strübi, Silvan-MGB" userId="S::silvan.struebi@mgb.ch::95baf06b-2854-46e5-a239-42d5face947a" providerId="AD" clId="Web-{FEB9F3B8-7D9D-4AD0-9926-E6A17FAF0602}" dt="2021-03-10T13:29:54.536" v="144" actId="20577"/>
          <ac:spMkLst>
            <pc:docMk/>
            <pc:sldMk cId="115928287" sldId="539"/>
            <ac:spMk id="2" creationId="{00000000-0000-0000-0000-000000000000}"/>
          </ac:spMkLst>
        </pc:spChg>
        <pc:graphicFrameChg chg="mod modGraphic">
          <ac:chgData name="Strübi, Silvan-MGB" userId="S::silvan.struebi@mgb.ch::95baf06b-2854-46e5-a239-42d5face947a" providerId="AD" clId="Web-{FEB9F3B8-7D9D-4AD0-9926-E6A17FAF0602}" dt="2021-03-10T13:51:54.962" v="482"/>
          <ac:graphicFrameMkLst>
            <pc:docMk/>
            <pc:sldMk cId="115928287" sldId="539"/>
            <ac:graphicFrameMk id="7" creationId="{00000000-0000-0000-0000-000000000000}"/>
          </ac:graphicFrameMkLst>
        </pc:graphicFrameChg>
      </pc:sldChg>
      <pc:sldChg chg="addSp modSp">
        <pc:chgData name="Strübi, Silvan-MGB" userId="S::silvan.struebi@mgb.ch::95baf06b-2854-46e5-a239-42d5face947a" providerId="AD" clId="Web-{FEB9F3B8-7D9D-4AD0-9926-E6A17FAF0602}" dt="2021-03-10T13:57:29.123" v="581" actId="1076"/>
        <pc:sldMkLst>
          <pc:docMk/>
          <pc:sldMk cId="2544092619" sldId="540"/>
        </pc:sldMkLst>
        <pc:spChg chg="mod">
          <ac:chgData name="Strübi, Silvan-MGB" userId="S::silvan.struebi@mgb.ch::95baf06b-2854-46e5-a239-42d5face947a" providerId="AD" clId="Web-{FEB9F3B8-7D9D-4AD0-9926-E6A17FAF0602}" dt="2021-03-10T13:53:08.197" v="483" actId="20577"/>
          <ac:spMkLst>
            <pc:docMk/>
            <pc:sldMk cId="2544092619" sldId="540"/>
            <ac:spMk id="77" creationId="{00000000-0000-0000-0000-000000000000}"/>
          </ac:spMkLst>
        </pc:spChg>
        <pc:spChg chg="mod">
          <ac:chgData name="Strübi, Silvan-MGB" userId="S::silvan.struebi@mgb.ch::95baf06b-2854-46e5-a239-42d5face947a" providerId="AD" clId="Web-{FEB9F3B8-7D9D-4AD0-9926-E6A17FAF0602}" dt="2021-03-10T13:56:28.872" v="572" actId="20577"/>
          <ac:spMkLst>
            <pc:docMk/>
            <pc:sldMk cId="2544092619" sldId="540"/>
            <ac:spMk id="78" creationId="{00000000-0000-0000-0000-000000000000}"/>
          </ac:spMkLst>
        </pc:spChg>
        <pc:spChg chg="mod">
          <ac:chgData name="Strübi, Silvan-MGB" userId="S::silvan.struebi@mgb.ch::95baf06b-2854-46e5-a239-42d5face947a" providerId="AD" clId="Web-{FEB9F3B8-7D9D-4AD0-9926-E6A17FAF0602}" dt="2021-03-10T13:54:22.886" v="498" actId="20577"/>
          <ac:spMkLst>
            <pc:docMk/>
            <pc:sldMk cId="2544092619" sldId="540"/>
            <ac:spMk id="79" creationId="{00000000-0000-0000-0000-000000000000}"/>
          </ac:spMkLst>
        </pc:spChg>
        <pc:picChg chg="add mod">
          <ac:chgData name="Strübi, Silvan-MGB" userId="S::silvan.struebi@mgb.ch::95baf06b-2854-46e5-a239-42d5face947a" providerId="AD" clId="Web-{FEB9F3B8-7D9D-4AD0-9926-E6A17FAF0602}" dt="2021-03-10T13:56:38.872" v="575" actId="14100"/>
          <ac:picMkLst>
            <pc:docMk/>
            <pc:sldMk cId="2544092619" sldId="540"/>
            <ac:picMk id="5" creationId="{8365D584-0766-462A-8085-28B5E7106777}"/>
          </ac:picMkLst>
        </pc:picChg>
        <pc:picChg chg="add mod">
          <ac:chgData name="Strübi, Silvan-MGB" userId="S::silvan.struebi@mgb.ch::95baf06b-2854-46e5-a239-42d5face947a" providerId="AD" clId="Web-{FEB9F3B8-7D9D-4AD0-9926-E6A17FAF0602}" dt="2021-03-10T13:57:29.123" v="581" actId="1076"/>
          <ac:picMkLst>
            <pc:docMk/>
            <pc:sldMk cId="2544092619" sldId="540"/>
            <ac:picMk id="7" creationId="{E696E632-A3C1-4D60-AF03-C85638BAFC13}"/>
          </ac:picMkLst>
        </pc:picChg>
      </pc:sldChg>
      <pc:sldChg chg="delSp modSp add replId">
        <pc:chgData name="Strübi, Silvan-MGB" userId="S::silvan.struebi@mgb.ch::95baf06b-2854-46e5-a239-42d5face947a" providerId="AD" clId="Web-{FEB9F3B8-7D9D-4AD0-9926-E6A17FAF0602}" dt="2021-03-10T14:04:52.598" v="774" actId="20577"/>
        <pc:sldMkLst>
          <pc:docMk/>
          <pc:sldMk cId="3023056854" sldId="541"/>
        </pc:sldMkLst>
        <pc:spChg chg="mod">
          <ac:chgData name="Strübi, Silvan-MGB" userId="S::silvan.struebi@mgb.ch::95baf06b-2854-46e5-a239-42d5face947a" providerId="AD" clId="Web-{FEB9F3B8-7D9D-4AD0-9926-E6A17FAF0602}" dt="2021-03-10T13:59:13.031" v="583" actId="20577"/>
          <ac:spMkLst>
            <pc:docMk/>
            <pc:sldMk cId="3023056854" sldId="541"/>
            <ac:spMk id="77" creationId="{00000000-0000-0000-0000-000000000000}"/>
          </ac:spMkLst>
        </pc:spChg>
        <pc:spChg chg="mod">
          <ac:chgData name="Strübi, Silvan-MGB" userId="S::silvan.struebi@mgb.ch::95baf06b-2854-46e5-a239-42d5face947a" providerId="AD" clId="Web-{FEB9F3B8-7D9D-4AD0-9926-E6A17FAF0602}" dt="2021-03-10T14:04:52.598" v="774" actId="20577"/>
          <ac:spMkLst>
            <pc:docMk/>
            <pc:sldMk cId="3023056854" sldId="541"/>
            <ac:spMk id="78" creationId="{00000000-0000-0000-0000-000000000000}"/>
          </ac:spMkLst>
        </pc:spChg>
        <pc:picChg chg="del">
          <ac:chgData name="Strübi, Silvan-MGB" userId="S::silvan.struebi@mgb.ch::95baf06b-2854-46e5-a239-42d5face947a" providerId="AD" clId="Web-{FEB9F3B8-7D9D-4AD0-9926-E6A17FAF0602}" dt="2021-03-10T13:59:56.609" v="584"/>
          <ac:picMkLst>
            <pc:docMk/>
            <pc:sldMk cId="3023056854" sldId="541"/>
            <ac:picMk id="5" creationId="{8365D584-0766-462A-8085-28B5E7106777}"/>
          </ac:picMkLst>
        </pc:picChg>
        <pc:picChg chg="del">
          <ac:chgData name="Strübi, Silvan-MGB" userId="S::silvan.struebi@mgb.ch::95baf06b-2854-46e5-a239-42d5face947a" providerId="AD" clId="Web-{FEB9F3B8-7D9D-4AD0-9926-E6A17FAF0602}" dt="2021-03-10T13:59:57.859" v="585"/>
          <ac:picMkLst>
            <pc:docMk/>
            <pc:sldMk cId="3023056854" sldId="541"/>
            <ac:picMk id="7" creationId="{E696E632-A3C1-4D60-AF03-C85638BAFC13}"/>
          </ac:picMkLst>
        </pc:picChg>
      </pc:sldChg>
    </pc:docChg>
  </pc:docChgLst>
  <pc:docChgLst>
    <pc:chgData name="Schneider, Maria-MGB" userId="S::maria.schneider@mgb.ch::75347b56-268d-4748-8c0c-25c7171b43e4" providerId="AD" clId="Web-{6FDBE058-C4F5-4D27-9CEE-363FBF1CFC44}"/>
    <pc:docChg chg="modSld">
      <pc:chgData name="Schneider, Maria-MGB" userId="S::maria.schneider@mgb.ch::75347b56-268d-4748-8c0c-25c7171b43e4" providerId="AD" clId="Web-{6FDBE058-C4F5-4D27-9CEE-363FBF1CFC44}" dt="2021-03-23T07:05:04.384" v="2" actId="20577"/>
      <pc:docMkLst>
        <pc:docMk/>
      </pc:docMkLst>
      <pc:sldChg chg="modSp">
        <pc:chgData name="Schneider, Maria-MGB" userId="S::maria.schneider@mgb.ch::75347b56-268d-4748-8c0c-25c7171b43e4" providerId="AD" clId="Web-{6FDBE058-C4F5-4D27-9CEE-363FBF1CFC44}" dt="2021-03-23T07:05:04.384" v="2" actId="20577"/>
        <pc:sldMkLst>
          <pc:docMk/>
          <pc:sldMk cId="3023056854" sldId="541"/>
        </pc:sldMkLst>
        <pc:spChg chg="mod">
          <ac:chgData name="Schneider, Maria-MGB" userId="S::maria.schneider@mgb.ch::75347b56-268d-4748-8c0c-25c7171b43e4" providerId="AD" clId="Web-{6FDBE058-C4F5-4D27-9CEE-363FBF1CFC44}" dt="2021-03-23T07:05:04.384" v="2" actId="20577"/>
          <ac:spMkLst>
            <pc:docMk/>
            <pc:sldMk cId="3023056854" sldId="541"/>
            <ac:spMk id="78" creationId="{00000000-0000-0000-0000-000000000000}"/>
          </ac:spMkLst>
        </pc:spChg>
      </pc:sldChg>
    </pc:docChg>
  </pc:docChgLst>
  <pc:docChgLst>
    <pc:chgData name="Berger, Valentin-MGB" userId="S::valentin.berger@mgb.ch::af54b3ce-296a-4c5c-b791-3a7b97f92b2e" providerId="AD" clId="Web-{8CFC54BB-F1F6-49DB-AFEB-9CEFB99EF60B}"/>
    <pc:docChg chg="modSld">
      <pc:chgData name="Berger, Valentin-MGB" userId="S::valentin.berger@mgb.ch::af54b3ce-296a-4c5c-b791-3a7b97f92b2e" providerId="AD" clId="Web-{8CFC54BB-F1F6-49DB-AFEB-9CEFB99EF60B}" dt="2021-03-17T14:00:44.264" v="16" actId="20577"/>
      <pc:docMkLst>
        <pc:docMk/>
      </pc:docMkLst>
      <pc:sldChg chg="modSp">
        <pc:chgData name="Berger, Valentin-MGB" userId="S::valentin.berger@mgb.ch::af54b3ce-296a-4c5c-b791-3a7b97f92b2e" providerId="AD" clId="Web-{8CFC54BB-F1F6-49DB-AFEB-9CEFB99EF60B}" dt="2021-03-17T13:09:52.938" v="1" actId="20577"/>
        <pc:sldMkLst>
          <pc:docMk/>
          <pc:sldMk cId="1825493358" sldId="542"/>
        </pc:sldMkLst>
        <pc:spChg chg="mod">
          <ac:chgData name="Berger, Valentin-MGB" userId="S::valentin.berger@mgb.ch::af54b3ce-296a-4c5c-b791-3a7b97f92b2e" providerId="AD" clId="Web-{8CFC54BB-F1F6-49DB-AFEB-9CEFB99EF60B}" dt="2021-03-17T13:09:52.938" v="1" actId="20577"/>
          <ac:spMkLst>
            <pc:docMk/>
            <pc:sldMk cId="1825493358" sldId="542"/>
            <ac:spMk id="84" creationId="{FF6EE600-6156-4EFA-BF8B-6D7EBC0B6A2D}"/>
          </ac:spMkLst>
        </pc:spChg>
      </pc:sldChg>
      <pc:sldChg chg="modSp">
        <pc:chgData name="Berger, Valentin-MGB" userId="S::valentin.berger@mgb.ch::af54b3ce-296a-4c5c-b791-3a7b97f92b2e" providerId="AD" clId="Web-{8CFC54BB-F1F6-49DB-AFEB-9CEFB99EF60B}" dt="2021-03-17T14:00:44.264" v="16" actId="20577"/>
        <pc:sldMkLst>
          <pc:docMk/>
          <pc:sldMk cId="911784802" sldId="545"/>
        </pc:sldMkLst>
        <pc:spChg chg="mod">
          <ac:chgData name="Berger, Valentin-MGB" userId="S::valentin.berger@mgb.ch::af54b3ce-296a-4c5c-b791-3a7b97f92b2e" providerId="AD" clId="Web-{8CFC54BB-F1F6-49DB-AFEB-9CEFB99EF60B}" dt="2021-03-17T14:00:44.264" v="16" actId="20577"/>
          <ac:spMkLst>
            <pc:docMk/>
            <pc:sldMk cId="911784802" sldId="545"/>
            <ac:spMk id="78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DDC1D0-5B04-4BF1-8523-82B2E81732FA}" type="datetimeFigureOut">
              <a:rPr lang="en-GB" smtClean="0"/>
              <a:t>04/05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2D15F-4E50-4AC3-9049-37EF48867DF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67154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33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>
              <a:defRPr sz="1200"/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633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>
              <a:defRPr sz="1200"/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7659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4538"/>
            <a:ext cx="537527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3"/>
            <a:ext cx="5438140" cy="446698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/>
              <a:t>Textmasterformate durch Klicken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3"/>
            <a:ext cx="2945659" cy="49633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>
              <a:defRPr sz="1200"/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28583"/>
            <a:ext cx="2945659" cy="49633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6E685D21-FF57-4D33-ABC6-69E7D127CE20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935589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err="1"/>
              <a:t>Slideaufbau/Anwendung:</a:t>
            </a:r>
          </a:p>
          <a:p>
            <a:pPr marL="171450" indent="-171450">
              <a:buFontTx/>
              <a:buChar char="-"/>
            </a:pPr>
            <a:r>
              <a:rPr lang="de-CH"/>
              <a:t>Als</a:t>
            </a:r>
            <a:r>
              <a:rPr lang="de-CH" baseline="0"/>
              <a:t> Tabelle aufgebaut</a:t>
            </a:r>
            <a:endParaRPr lang="de-CH"/>
          </a:p>
          <a:p>
            <a:pPr marL="171450" indent="-171450">
              <a:buFontTx/>
              <a:buChar char="-"/>
            </a:pPr>
            <a:r>
              <a:rPr lang="de-CH"/>
              <a:t>Agenda ohne Seitenzahl</a:t>
            </a:r>
          </a:p>
          <a:p>
            <a:pPr marL="171450" indent="-171450">
              <a:buFontTx/>
              <a:buChar char="-"/>
            </a:pPr>
            <a:r>
              <a:rPr lang="de-CH"/>
              <a:t>Einsatz auch als Trennerslide</a:t>
            </a:r>
            <a:r>
              <a:rPr lang="de-CH" baseline="0"/>
              <a:t> möglich (Navigationspfeil)</a:t>
            </a:r>
            <a:endParaRPr lang="de-CH"/>
          </a:p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E685D21-FF57-4D33-ABC6-69E7D127CE20}" type="slidenum">
              <a:rPr lang="de-CH" smtClean="0"/>
              <a:pPr>
                <a:defRPr/>
              </a:pPr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23706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5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4" hidden="1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464852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6" name="Rectangle 4" hidden="1"/>
                      <p:cNvPicPr/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6115682"/>
            <a:ext cx="9906000" cy="742318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sp>
        <p:nvSpPr>
          <p:cNvPr id="20" name="Rechteck 19"/>
          <p:cNvSpPr/>
          <p:nvPr userDrawn="1"/>
        </p:nvSpPr>
        <p:spPr bwMode="auto">
          <a:xfrm>
            <a:off x="7566486" y="6115682"/>
            <a:ext cx="2066887" cy="742318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9" name="Picture 21"/>
          <p:cNvPicPr>
            <a:picLocks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678169" y="6204943"/>
            <a:ext cx="1855108" cy="544866"/>
          </a:xfrm>
          <a:prstGeom prst="rect">
            <a:avLst/>
          </a:prstGeom>
          <a:noFill/>
          <a:ln w="9525">
            <a:noFill/>
            <a:miter lim="800000"/>
          </a:ln>
        </p:spPr>
      </p:pic>
      <p:sp>
        <p:nvSpPr>
          <p:cNvPr id="60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1695152"/>
            <a:ext cx="6685242" cy="54333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 wenn 2- zeilig (sonst löschen)</a:t>
            </a:r>
          </a:p>
        </p:txBody>
      </p:sp>
      <p:sp>
        <p:nvSpPr>
          <p:cNvPr id="3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93" y="2852738"/>
            <a:ext cx="3284187" cy="35866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2000" baseline="0"/>
            </a:lvl1pPr>
          </a:lstStyle>
          <a:p>
            <a:pPr lvl="0"/>
            <a:r>
              <a:rPr lang="de-CH"/>
              <a:t>Vorname Name, Funktion</a:t>
            </a:r>
          </a:p>
        </p:txBody>
      </p:sp>
      <p:sp>
        <p:nvSpPr>
          <p:cNvPr id="3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793" y="3249613"/>
            <a:ext cx="1916826" cy="35866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2000" baseline="0"/>
            </a:lvl1pPr>
          </a:lstStyle>
          <a:p>
            <a:pPr lvl="0"/>
            <a:r>
              <a:rPr lang="de-CH"/>
              <a:t>Unternehmen</a:t>
            </a:r>
          </a:p>
        </p:txBody>
      </p:sp>
      <p:sp>
        <p:nvSpPr>
          <p:cNvPr id="3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793" y="3644900"/>
            <a:ext cx="2838552" cy="35866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2000" baseline="0"/>
            </a:lvl1pPr>
          </a:lstStyle>
          <a:p>
            <a:pPr lvl="0"/>
            <a:r>
              <a:rPr lang="de-CH"/>
              <a:t>Anlass,  Ort &amp; Datum</a:t>
            </a:r>
          </a:p>
        </p:txBody>
      </p:sp>
      <p:sp>
        <p:nvSpPr>
          <p:cNvPr id="36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793" y="2275448"/>
            <a:ext cx="3907238" cy="54333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 wenn 1- zeilig</a:t>
            </a:r>
          </a:p>
        </p:txBody>
      </p:sp>
    </p:spTree>
    <p:extLst>
      <p:ext uri="{BB962C8B-B14F-4D97-AF65-F5344CB8AC3E}">
        <p14:creationId xmlns:p14="http://schemas.microsoft.com/office/powerpoint/2010/main" val="1629242879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Kernaussag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287868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Date Placeholder 5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fld id="{DD981970-1120-4907-9C4F-21AADFF62B9D}" type="datetime1">
              <a:rPr lang="de-CH" smtClean="0"/>
              <a:t>04.05.2021</a:t>
            </a:fld>
            <a:endParaRPr lang="de-CH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2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r>
              <a:rPr lang="de-CH" noProof="0"/>
              <a:t>Migros-Genossenschafts-Bund | MES – Migros Engineering Solutions | Master Power Point Vorlag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26"/>
          </p:nvPr>
        </p:nvSpPr>
        <p:spPr>
          <a:xfrm>
            <a:off x="3175" y="0"/>
            <a:ext cx="4949825" cy="6858000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4292954" y="2852738"/>
            <a:ext cx="1556049" cy="380480"/>
          </a:xfrm>
          <a:prstGeom prst="rect">
            <a:avLst/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36000" rIns="72000" bIns="36000" anchor="ctr" anchorCtr="0">
            <a:spAutoFit/>
          </a:bodyPr>
          <a:lstStyle>
            <a:lvl1pPr marL="0" indent="0" algn="l">
              <a:buFontTx/>
              <a:buNone/>
              <a:defRPr sz="2000">
                <a:solidFill>
                  <a:schemeClr val="bg1"/>
                </a:solidFill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600">
                <a:solidFill>
                  <a:schemeClr val="bg1"/>
                </a:solidFill>
              </a:defRPr>
            </a:lvl3pPr>
            <a:lvl4pPr>
              <a:defRPr sz="3600">
                <a:solidFill>
                  <a:schemeClr val="bg1"/>
                </a:solidFill>
              </a:defRPr>
            </a:lvl4pPr>
            <a:lvl5pPr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Migros 2017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4292954" y="2240769"/>
            <a:ext cx="5133951" cy="565146"/>
          </a:xfrm>
          <a:prstGeom prst="rect">
            <a:avLst/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36000" rIns="72000" bIns="36000" anchor="ctr" anchorCtr="0">
            <a:spAutoFit/>
          </a:bodyPr>
          <a:lstStyle>
            <a:lvl1pPr marL="0" indent="0" algn="l">
              <a:buFontTx/>
              <a:buNone/>
              <a:defRPr sz="3200" baseline="0">
                <a:solidFill>
                  <a:schemeClr val="bg1"/>
                </a:solidFill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600">
                <a:solidFill>
                  <a:schemeClr val="bg1"/>
                </a:solidFill>
              </a:defRPr>
            </a:lvl3pPr>
            <a:lvl4pPr>
              <a:defRPr sz="3600">
                <a:solidFill>
                  <a:schemeClr val="bg1"/>
                </a:solidFill>
              </a:defRPr>
            </a:lvl4pPr>
            <a:lvl5pPr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Zwischentitel wenn 1- zeilig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4292954" y="1628800"/>
            <a:ext cx="5206654" cy="565146"/>
          </a:xfrm>
          <a:prstGeom prst="rect">
            <a:avLst/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36000" rIns="72000" bIns="36000" anchor="ctr" anchorCtr="0">
            <a:spAutoFit/>
          </a:bodyPr>
          <a:lstStyle>
            <a:lvl1pPr marL="0" indent="0" algn="l">
              <a:buFontTx/>
              <a:buNone/>
              <a:defRPr sz="3200" baseline="0">
                <a:solidFill>
                  <a:schemeClr val="bg1"/>
                </a:solidFill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600">
                <a:solidFill>
                  <a:schemeClr val="bg1"/>
                </a:solidFill>
              </a:defRPr>
            </a:lvl3pPr>
            <a:lvl4pPr>
              <a:defRPr sz="3600">
                <a:solidFill>
                  <a:schemeClr val="bg1"/>
                </a:solidFill>
              </a:defRPr>
            </a:lvl4pPr>
            <a:lvl5pPr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Zwischentitel wenn 2- zeilig</a:t>
            </a:r>
          </a:p>
        </p:txBody>
      </p:sp>
    </p:spTree>
    <p:extLst>
      <p:ext uri="{BB962C8B-B14F-4D97-AF65-F5344CB8AC3E}">
        <p14:creationId xmlns:p14="http://schemas.microsoft.com/office/powerpoint/2010/main" val="240139260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4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5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fld id="{C81BAAFC-F436-4FE9-8D7D-F900DC514004}" type="datetime1">
              <a:rPr lang="de-CH" smtClean="0"/>
              <a:t>04.05.2021</a:t>
            </a:fld>
            <a:endParaRPr lang="de-CH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r>
              <a:rPr lang="de-CH" noProof="0"/>
              <a:t>Migros-Genossenschafts-Bund | MES – Migros Engineering Solutions | Master Power Point Vorlagen</a:t>
            </a:r>
          </a:p>
        </p:txBody>
      </p:sp>
      <p:sp>
        <p:nvSpPr>
          <p:cNvPr id="15" name="Eingekerbter Richtungspfeil 2"/>
          <p:cNvSpPr/>
          <p:nvPr userDrawn="1"/>
        </p:nvSpPr>
        <p:spPr bwMode="auto">
          <a:xfrm>
            <a:off x="90432" y="6614452"/>
            <a:ext cx="72001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6" name="Picture 135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3050" y="6629389"/>
            <a:ext cx="612000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Rectangle 4" hidden="1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373942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Folie" r:id="rId5" imgW="0" imgH="0" progId="TCLayout.ActiveDocument.1">
                  <p:embed/>
                </p:oleObj>
              </mc:Choice>
              <mc:Fallback>
                <p:oleObj name="think-cell Folie" r:id="rId5" imgW="0" imgH="0" progId="TCLayout.ActiveDocument.1">
                  <p:embed/>
                  <p:pic>
                    <p:nvPicPr>
                      <p:cNvPr id="6" name="Rectangle 4" hidden="1"/>
                      <p:cNvPicPr/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8"/>
          </p:nvPr>
        </p:nvSpPr>
        <p:spPr>
          <a:xfrm>
            <a:off x="0" y="12"/>
            <a:ext cx="4953000" cy="3431970"/>
          </a:xfrm>
          <a:prstGeom prst="rect">
            <a:avLst/>
          </a:prstGeom>
          <a:solidFill>
            <a:srgbClr val="EAEAEA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19"/>
          </p:nvPr>
        </p:nvSpPr>
        <p:spPr>
          <a:xfrm>
            <a:off x="4956810" y="12"/>
            <a:ext cx="4953000" cy="3431970"/>
          </a:xfrm>
          <a:prstGeom prst="rect">
            <a:avLst/>
          </a:prstGeom>
          <a:solidFill>
            <a:srgbClr val="EAEAEA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7" name="Bildplatzhalter 3"/>
          <p:cNvSpPr>
            <a:spLocks noGrp="1"/>
          </p:cNvSpPr>
          <p:nvPr>
            <p:ph type="pic" sz="quarter" idx="20"/>
          </p:nvPr>
        </p:nvSpPr>
        <p:spPr>
          <a:xfrm>
            <a:off x="0" y="3431970"/>
            <a:ext cx="4953000" cy="3431970"/>
          </a:xfrm>
          <a:prstGeom prst="rect">
            <a:avLst/>
          </a:prstGeom>
          <a:solidFill>
            <a:srgbClr val="EAEAEA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96478" y="2849342"/>
            <a:ext cx="2513042" cy="565146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72000" bIns="36000" anchor="ctr" anchorCtr="0"/>
          <a:lstStyle>
            <a:lvl1pPr algn="ctr">
              <a:defRPr sz="3200">
                <a:solidFill>
                  <a:schemeClr val="bg1"/>
                </a:solidFill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600">
                <a:solidFill>
                  <a:schemeClr val="bg1"/>
                </a:solidFill>
              </a:defRPr>
            </a:lvl3pPr>
            <a:lvl4pPr>
              <a:defRPr sz="3600">
                <a:solidFill>
                  <a:schemeClr val="bg1"/>
                </a:solidFill>
              </a:defRPr>
            </a:lvl4pPr>
            <a:lvl5pPr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 err="1"/>
              <a:t>Lorem ipsum</a:t>
            </a:r>
          </a:p>
        </p:txBody>
      </p:sp>
      <p:sp>
        <p:nvSpPr>
          <p:cNvPr id="18" name="Bildplatzhalter 3"/>
          <p:cNvSpPr>
            <a:spLocks noGrp="1"/>
          </p:cNvSpPr>
          <p:nvPr>
            <p:ph type="pic" sz="quarter" idx="21"/>
          </p:nvPr>
        </p:nvSpPr>
        <p:spPr>
          <a:xfrm>
            <a:off x="4956810" y="3431970"/>
            <a:ext cx="4953000" cy="3431970"/>
          </a:xfrm>
          <a:prstGeom prst="rect">
            <a:avLst/>
          </a:prstGeom>
          <a:solidFill>
            <a:srgbClr val="EAEAEA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399925" y="3450488"/>
            <a:ext cx="3106152" cy="565146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72000" bIns="36000" anchor="ctr" anchorCtr="0">
            <a:sp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600">
                <a:solidFill>
                  <a:schemeClr val="bg1"/>
                </a:solidFill>
              </a:defRPr>
            </a:lvl3pPr>
            <a:lvl4pPr>
              <a:defRPr sz="3600">
                <a:solidFill>
                  <a:schemeClr val="bg1"/>
                </a:solidFill>
              </a:defRPr>
            </a:lvl4pPr>
            <a:lvl5pPr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 err="1"/>
              <a:t>Omnicos directe</a:t>
            </a:r>
          </a:p>
        </p:txBody>
      </p:sp>
    </p:spTree>
    <p:extLst>
      <p:ext uri="{BB962C8B-B14F-4D97-AF65-F5344CB8AC3E}">
        <p14:creationId xmlns:p14="http://schemas.microsoft.com/office/powerpoint/2010/main" val="1272200478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2Spalten_Bil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276757" y="1125538"/>
            <a:ext cx="4604805" cy="2565400"/>
          </a:xfrm>
          <a:prstGeom prst="rect">
            <a:avLst/>
          </a:prstGeom>
          <a:solidFill>
            <a:srgbClr val="EAEAEA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61429" y="3824288"/>
            <a:ext cx="4620133" cy="1231106"/>
          </a:xfrm>
          <a:prstGeom prst="rect">
            <a:avLst/>
          </a:prstGeo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8" name="Bildplatzhalter 6"/>
          <p:cNvSpPr>
            <a:spLocks noGrp="1"/>
          </p:cNvSpPr>
          <p:nvPr>
            <p:ph type="pic" sz="quarter" idx="15"/>
          </p:nvPr>
        </p:nvSpPr>
        <p:spPr>
          <a:xfrm>
            <a:off x="5024440" y="1125537"/>
            <a:ext cx="4604805" cy="2565400"/>
          </a:xfrm>
          <a:prstGeom prst="rect">
            <a:avLst/>
          </a:prstGeom>
          <a:solidFill>
            <a:srgbClr val="EAEAEA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024439" y="3824288"/>
            <a:ext cx="4608511" cy="1231106"/>
          </a:xfrm>
          <a:prstGeom prst="rect">
            <a:avLst/>
          </a:prstGeo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/>
              <a:t>2 Spalten, Bilder oben, Text unten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273599" y="729162"/>
            <a:ext cx="966144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72000" bIns="3600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15" name="Date Placeholder 5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fld id="{F7AD2487-4557-4714-81D8-437456EA5AAE}" type="datetime1">
              <a:rPr lang="de-CH" smtClean="0"/>
              <a:t>04.05.2021</a:t>
            </a:fld>
            <a:endParaRPr lang="de-CH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1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r>
              <a:rPr lang="de-CH" noProof="0"/>
              <a:t>Migros-Genossenschafts-Bund | MES – Migros Engineering Solutions | Master Power Point Vorlagen</a:t>
            </a:r>
          </a:p>
        </p:txBody>
      </p:sp>
      <p:sp>
        <p:nvSpPr>
          <p:cNvPr id="13" name="Eingekerbter Richtungspfeil 2"/>
          <p:cNvSpPr/>
          <p:nvPr userDrawn="1"/>
        </p:nvSpPr>
        <p:spPr bwMode="auto">
          <a:xfrm>
            <a:off x="90432" y="6614452"/>
            <a:ext cx="72001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8" name="Picture 13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3050" y="6629389"/>
            <a:ext cx="612000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0207156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Bild_links_Titel_durchgeh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Bild links, Text recht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276757" y="1125537"/>
            <a:ext cx="4604805" cy="5399087"/>
          </a:xfrm>
          <a:prstGeom prst="rect">
            <a:avLst/>
          </a:prstGeom>
          <a:solidFill>
            <a:srgbClr val="EAEAEA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024439" y="1125538"/>
            <a:ext cx="4608512" cy="1231106"/>
          </a:xfrm>
          <a:prstGeom prst="rect">
            <a:avLst/>
          </a:prstGeo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273599" y="729162"/>
            <a:ext cx="966144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72000" bIns="3600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14" name="Date Placeholder 5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fld id="{75C28995-EA68-484B-BBF2-AE7FB3242EE3}" type="datetime1">
              <a:rPr lang="de-CH" smtClean="0"/>
              <a:t>04.05.2021</a:t>
            </a:fld>
            <a:endParaRPr lang="de-CH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1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r>
              <a:rPr lang="de-CH" noProof="0"/>
              <a:t>Migros-Genossenschafts-Bund | MES – Migros Engineering Solutions | Master Power Point Vorlagen</a:t>
            </a:r>
          </a:p>
        </p:txBody>
      </p:sp>
      <p:sp>
        <p:nvSpPr>
          <p:cNvPr id="12" name="Eingekerbter Richtungspfeil 2"/>
          <p:cNvSpPr/>
          <p:nvPr userDrawn="1"/>
        </p:nvSpPr>
        <p:spPr bwMode="auto">
          <a:xfrm>
            <a:off x="90432" y="6614452"/>
            <a:ext cx="72001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7" name="Picture 13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3050" y="6629389"/>
            <a:ext cx="612000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5910273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Bild_links_Titel_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24437" y="259200"/>
            <a:ext cx="4606947" cy="432950"/>
          </a:xfrm>
        </p:spPr>
        <p:txBody>
          <a:bodyPr/>
          <a:lstStyle>
            <a:lvl1pPr>
              <a:defRPr/>
            </a:lvl1pPr>
          </a:lstStyle>
          <a:p>
            <a:r>
              <a:rPr lang="de-CH"/>
              <a:t>Bild links, Text recht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273049" y="259200"/>
            <a:ext cx="4608513" cy="6265425"/>
          </a:xfrm>
          <a:prstGeom prst="rect">
            <a:avLst/>
          </a:prstGeom>
          <a:solidFill>
            <a:srgbClr val="EAEAEA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024439" y="1125538"/>
            <a:ext cx="4608512" cy="1231106"/>
          </a:xfrm>
          <a:prstGeom prst="rect">
            <a:avLst/>
          </a:prstGeo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019737" y="729162"/>
            <a:ext cx="966144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72000" bIns="3600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12" name="Date Placeholder 5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fld id="{F23AB41D-12EC-44BC-A99F-B428AEE954AA}" type="datetime1">
              <a:rPr lang="de-CH" smtClean="0"/>
              <a:t>04.05.2021</a:t>
            </a:fld>
            <a:endParaRPr lang="de-CH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r>
              <a:rPr lang="de-CH" noProof="0"/>
              <a:t>Migros-Genossenschafts-Bund | MES – Migros Engineering Solutions | Master Power Point Vorlagen</a:t>
            </a:r>
          </a:p>
        </p:txBody>
      </p:sp>
      <p:sp>
        <p:nvSpPr>
          <p:cNvPr id="16" name="Eingekerbter Richtungspfeil 2"/>
          <p:cNvSpPr/>
          <p:nvPr userDrawn="1"/>
        </p:nvSpPr>
        <p:spPr bwMode="auto">
          <a:xfrm>
            <a:off x="90432" y="6614452"/>
            <a:ext cx="72001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7" name="Picture 13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3050" y="6629389"/>
            <a:ext cx="612000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3081978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Bild_rechts_Titel_durchgeh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Bild rechts, Text link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024438" y="1125537"/>
            <a:ext cx="4604805" cy="5399087"/>
          </a:xfrm>
          <a:prstGeom prst="rect">
            <a:avLst/>
          </a:prstGeom>
          <a:solidFill>
            <a:srgbClr val="EAEAEA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73050" y="1128920"/>
            <a:ext cx="4620133" cy="1231106"/>
          </a:xfrm>
          <a:prstGeom prst="rect">
            <a:avLst/>
          </a:prstGeo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273599" y="729162"/>
            <a:ext cx="966144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72000" bIns="3600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14" name="Date Placeholder 5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fld id="{8B6F6D71-3F46-4152-89B2-EA0E4F475CDB}" type="datetime1">
              <a:rPr lang="de-CH" smtClean="0"/>
              <a:t>04.05.2021</a:t>
            </a:fld>
            <a:endParaRPr lang="de-CH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1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r>
              <a:rPr lang="de-CH" noProof="0"/>
              <a:t>Migros-Genossenschafts-Bund | MES – Migros Engineering Solutions | Master Power Point Vorlagen</a:t>
            </a:r>
          </a:p>
        </p:txBody>
      </p:sp>
      <p:sp>
        <p:nvSpPr>
          <p:cNvPr id="12" name="Eingekerbter Richtungspfeil 2"/>
          <p:cNvSpPr/>
          <p:nvPr userDrawn="1"/>
        </p:nvSpPr>
        <p:spPr bwMode="auto">
          <a:xfrm>
            <a:off x="90432" y="6614452"/>
            <a:ext cx="72001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7" name="Picture 13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3050" y="6629389"/>
            <a:ext cx="612000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8414638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Bild_rechts_Titel_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3048" y="259200"/>
            <a:ext cx="4608515" cy="432950"/>
          </a:xfrm>
        </p:spPr>
        <p:txBody>
          <a:bodyPr/>
          <a:lstStyle>
            <a:lvl1pPr>
              <a:defRPr/>
            </a:lvl1pPr>
          </a:lstStyle>
          <a:p>
            <a:r>
              <a:rPr lang="de-CH"/>
              <a:t>Bild rechts, Text link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024437" y="259200"/>
            <a:ext cx="4609083" cy="6265426"/>
          </a:xfrm>
          <a:prstGeom prst="rect">
            <a:avLst/>
          </a:prstGeom>
          <a:solidFill>
            <a:srgbClr val="EAEAEA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268348" y="729162"/>
            <a:ext cx="966144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72000" bIns="3600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12" name="Date Placeholder 5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fld id="{C81BAAFC-F436-4FE9-8D7D-F900DC514004}" type="datetime1">
              <a:rPr lang="de-CH" smtClean="0"/>
              <a:t>04.05.2021</a:t>
            </a:fld>
            <a:endParaRPr lang="de-CH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r>
              <a:rPr lang="de-CH" noProof="0"/>
              <a:t>Migros-Genossenschafts-Bund | MES – Migros Engineering Solutions | Master Power Point Vorlagen</a:t>
            </a:r>
          </a:p>
        </p:txBody>
      </p:sp>
      <p:sp>
        <p:nvSpPr>
          <p:cNvPr id="16" name="Eingekerbter Richtungspfeil 2"/>
          <p:cNvSpPr/>
          <p:nvPr userDrawn="1"/>
        </p:nvSpPr>
        <p:spPr bwMode="auto">
          <a:xfrm>
            <a:off x="90432" y="6614452"/>
            <a:ext cx="72001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7" name="Picture 13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3050" y="6629389"/>
            <a:ext cx="612000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73050" y="1128920"/>
            <a:ext cx="4620133" cy="1231106"/>
          </a:xfrm>
          <a:prstGeom prst="rect">
            <a:avLst/>
          </a:prstGeo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005840451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5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fld id="{C81BAAFC-F436-4FE9-8D7D-F900DC514004}" type="datetime1">
              <a:rPr lang="de-CH" smtClean="0"/>
              <a:t>04.05.2021</a:t>
            </a:fld>
            <a:endParaRPr lang="de-CH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r>
              <a:rPr lang="de-CH" noProof="0"/>
              <a:t>Migros-Genossenschafts-Bund | MES – Migros Engineering Solutions | Master Power Point Vorlag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906000" cy="685799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046459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Kapitel_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28512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73765" y="1631599"/>
            <a:ext cx="540000" cy="540000"/>
          </a:xfrm>
          <a:prstGeom prst="round2DiagRect">
            <a:avLst/>
          </a:prstGeom>
          <a:solidFill>
            <a:schemeClr val="accent1"/>
          </a:solidFill>
        </p:spPr>
        <p:txBody>
          <a:bodyPr>
            <a:no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#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054526" y="1724623"/>
            <a:ext cx="8562810" cy="36933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lvl1pPr algn="l">
              <a:defRPr sz="2400" b="0" cap="none" baseline="0">
                <a:solidFill>
                  <a:schemeClr val="tx1"/>
                </a:solidFill>
                <a:sym typeface="Wingdings" panose="05000000000000000000" pitchFamily="2" charset="2"/>
              </a:defRPr>
            </a:lvl1pPr>
          </a:lstStyle>
          <a:p>
            <a:r>
              <a:rPr lang="de-CH" err="1"/>
              <a:t>Trenner-Slide  Hier Kapitel, Agendapunkt eingeben</a:t>
            </a:r>
            <a:endParaRPr lang="de-CH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1061669" y="2154042"/>
            <a:ext cx="856281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ußzeilenplatzhalter 24"/>
          <p:cNvSpPr txBox="1"/>
          <p:nvPr userDrawn="1"/>
        </p:nvSpPr>
        <p:spPr>
          <a:xfrm>
            <a:off x="1170532" y="6640612"/>
            <a:ext cx="620077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Date Placeholder 5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fld id="{F9A2FD99-6662-45BD-AA4A-6C65F79D801E}" type="datetime1">
              <a:rPr lang="de-CH" smtClean="0"/>
              <a:t>04.05.2021</a:t>
            </a:fld>
            <a:endParaRPr lang="de-CH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1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de-CH"/>
              <a:t>Migros-Genossenschafts-Bund | MES – Migros Engineering Solutions | Master Power Point Vorlagen</a:t>
            </a:r>
          </a:p>
        </p:txBody>
      </p:sp>
      <p:sp>
        <p:nvSpPr>
          <p:cNvPr id="19" name="Eingekerbter Richtungspfeil 2"/>
          <p:cNvSpPr/>
          <p:nvPr userDrawn="1"/>
        </p:nvSpPr>
        <p:spPr bwMode="auto">
          <a:xfrm>
            <a:off x="90432" y="6614452"/>
            <a:ext cx="72001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161351" name="Picture 13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3050" y="6629389"/>
            <a:ext cx="612000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061202" y="2636912"/>
            <a:ext cx="8551862" cy="1384995"/>
          </a:xfrm>
          <a:prstGeom prst="rect">
            <a:avLst/>
          </a:prstGeom>
        </p:spPr>
        <p:txBody>
          <a:bodyPr/>
          <a:lstStyle>
            <a:lvl1pPr marL="180975" indent="-180975">
              <a:buClr>
                <a:schemeClr val="accent1"/>
              </a:buClr>
              <a:buFont typeface="Arial" panose="020B0604020202020204" pitchFamily="34" charset="0"/>
              <a:buChar char="•"/>
              <a:defRPr sz="1800" baseline="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03718252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299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ußzeilenplatzhalter 24"/>
          <p:cNvSpPr txBox="1"/>
          <p:nvPr userDrawn="1"/>
        </p:nvSpPr>
        <p:spPr>
          <a:xfrm>
            <a:off x="1170532" y="6640612"/>
            <a:ext cx="620077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Date Placeholder 5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fld id="{9B3D9975-97DF-44EF-8081-3A255F1C8ACC}" type="datetime1">
              <a:rPr lang="de-CH" smtClean="0"/>
              <a:t>04.05.2021</a:t>
            </a:fld>
            <a:endParaRPr lang="de-CH"/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de-CH"/>
              <a:t>Migros-Genossenschafts-Bund | MES – Migros Engineering Solutions | Master Power Point Vorlagen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3599" y="729162"/>
            <a:ext cx="966144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solidFill>
            <a:schemeClr val="tx2"/>
          </a:solidFill>
        </p:spPr>
        <p:txBody>
          <a:bodyPr rIns="36000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1" name="Eingekerbter Richtungspfeil 2"/>
          <p:cNvSpPr/>
          <p:nvPr userDrawn="1"/>
        </p:nvSpPr>
        <p:spPr bwMode="auto">
          <a:xfrm>
            <a:off x="90432" y="6614452"/>
            <a:ext cx="72001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2" name="Picture 13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3050" y="6629389"/>
            <a:ext cx="612000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8295159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Free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55974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ußzeilenplatzhalter 24"/>
          <p:cNvSpPr txBox="1"/>
          <p:nvPr userDrawn="1"/>
        </p:nvSpPr>
        <p:spPr>
          <a:xfrm>
            <a:off x="1170532" y="6640612"/>
            <a:ext cx="620077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Date Placeholder 5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fld id="{7306F75B-A4D9-4C3D-AD03-6C7BAF9CC538}" type="datetime1">
              <a:rPr lang="de-CH" smtClean="0"/>
              <a:t>04.05.2021</a:t>
            </a:fld>
            <a:endParaRPr lang="de-CH"/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r>
              <a:rPr lang="de-CH" noProof="0"/>
              <a:t>Migros-Genossenschafts-Bund | MES – Migros Engineering Solutions | Master Power Point Vorlagen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 rIns="36000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1" name="Eingekerbter Richtungspfeil 2"/>
          <p:cNvSpPr/>
          <p:nvPr userDrawn="1"/>
        </p:nvSpPr>
        <p:spPr bwMode="auto">
          <a:xfrm>
            <a:off x="90432" y="6614452"/>
            <a:ext cx="72001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2" name="Picture 13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3050" y="6629389"/>
            <a:ext cx="612000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8097915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Untertitel_Inhaltsplatzspei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273050" y="1125538"/>
            <a:ext cx="9358313" cy="1231106"/>
          </a:xfrm>
          <a:prstGeom prst="rect">
            <a:avLst/>
          </a:prstGeo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3599" y="729162"/>
            <a:ext cx="966144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6" name="Fußzeilenplatzhalter 24"/>
          <p:cNvSpPr txBox="1"/>
          <p:nvPr userDrawn="1"/>
        </p:nvSpPr>
        <p:spPr>
          <a:xfrm>
            <a:off x="1170532" y="6640612"/>
            <a:ext cx="620077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Date Placeholder 5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fld id="{422CF602-15EF-4E3A-B5B6-B05E905864D0}" type="datetime1">
              <a:rPr lang="de-CH" smtClean="0"/>
              <a:t>04.05.2021</a:t>
            </a:fld>
            <a:endParaRPr lang="de-CH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de-CH"/>
              <a:t>Migros-Genossenschafts-Bund | MES – Migros Engineering Solutions | Master Power Point Vorlagen</a:t>
            </a:r>
          </a:p>
        </p:txBody>
      </p:sp>
      <p:sp>
        <p:nvSpPr>
          <p:cNvPr id="10" name="Eingekerbter Richtungspfeil 2"/>
          <p:cNvSpPr/>
          <p:nvPr userDrawn="1"/>
        </p:nvSpPr>
        <p:spPr bwMode="auto">
          <a:xfrm>
            <a:off x="90432" y="6614452"/>
            <a:ext cx="72001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1" name="Picture 13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3050" y="6629389"/>
            <a:ext cx="612000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106109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Inhaltsplatzspei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273050" y="1125538"/>
            <a:ext cx="9358313" cy="1231106"/>
          </a:xfrm>
          <a:prstGeom prst="rect">
            <a:avLst/>
          </a:prstGeo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5" name="Fußzeilenplatzhalter 24"/>
          <p:cNvSpPr txBox="1"/>
          <p:nvPr userDrawn="1"/>
        </p:nvSpPr>
        <p:spPr>
          <a:xfrm>
            <a:off x="1170532" y="6640612"/>
            <a:ext cx="620077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fld id="{8526BC34-705C-456D-B1FF-614A4C0C5B87}" type="datetime1">
              <a:rPr lang="de-CH" smtClean="0"/>
              <a:t>04.05.2021</a:t>
            </a:fld>
            <a:endParaRPr lang="de-CH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de-CH"/>
              <a:t>Migros-Genossenschafts-Bund | MES – Migros Engineering Solutions | Master Power Point Vorlagen</a:t>
            </a:r>
          </a:p>
        </p:txBody>
      </p:sp>
      <p:sp>
        <p:nvSpPr>
          <p:cNvPr id="9" name="Eingekerbter Richtungspfeil 2"/>
          <p:cNvSpPr/>
          <p:nvPr userDrawn="1"/>
        </p:nvSpPr>
        <p:spPr bwMode="auto">
          <a:xfrm>
            <a:off x="90432" y="6614452"/>
            <a:ext cx="72001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0" name="Picture 13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3050" y="6629389"/>
            <a:ext cx="612000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1882297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Untertite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65455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ußzeilenplatzhalter 24"/>
          <p:cNvSpPr txBox="1"/>
          <p:nvPr userDrawn="1"/>
        </p:nvSpPr>
        <p:spPr>
          <a:xfrm>
            <a:off x="1170532" y="6640612"/>
            <a:ext cx="620077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Date Placeholder 5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fld id="{26A20EF0-1EC0-473F-8145-0A026E7A2EFE}" type="datetime1">
              <a:rPr lang="de-CH" smtClean="0"/>
              <a:t>04.05.2021</a:t>
            </a:fld>
            <a:endParaRPr lang="de-CH"/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r>
              <a:rPr lang="de-CH" noProof="0"/>
              <a:t>Migros-Genossenschafts-Bund | MES – Migros Engineering Solutions | Master Power Point Vorlagen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3599" y="729162"/>
            <a:ext cx="966144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73600" y="259200"/>
            <a:ext cx="9359349" cy="43295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5" name="Eingekerbter Richtungspfeil 2"/>
          <p:cNvSpPr/>
          <p:nvPr userDrawn="1"/>
        </p:nvSpPr>
        <p:spPr bwMode="auto">
          <a:xfrm>
            <a:off x="90432" y="6614452"/>
            <a:ext cx="72001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20" name="Picture 13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3050" y="6629389"/>
            <a:ext cx="612000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70000" y="1125538"/>
            <a:ext cx="9362950" cy="105758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80975" indent="-180975">
              <a:buFont typeface="Arial" panose="020B0604020202020204" pitchFamily="34" charset="0"/>
              <a:buChar char="•"/>
              <a:defRPr baseline="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 sz="1600"/>
            </a:lvl5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681515089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82977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Date Placeholder 5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fld id="{DD981970-1120-4907-9C4F-21AADFF62B9D}" type="datetime1">
              <a:rPr lang="de-CH" smtClean="0"/>
              <a:t>04.05.2021</a:t>
            </a:fld>
            <a:endParaRPr lang="de-CH"/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r>
              <a:rPr lang="de-CH" noProof="0"/>
              <a:t>Migros-Genossenschafts-Bund | MES – Migros Engineering Solutions | Master Power Point Vorlag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21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70000" y="1125538"/>
            <a:ext cx="9362950" cy="105758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80975" indent="-180975">
              <a:buFont typeface="Arial" panose="020B0604020202020204" pitchFamily="34" charset="0"/>
              <a:buChar char="•"/>
              <a:defRPr baseline="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 sz="1600"/>
            </a:lvl5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1" name="Eingekerbter Richtungspfeil 2"/>
          <p:cNvSpPr/>
          <p:nvPr userDrawn="1"/>
        </p:nvSpPr>
        <p:spPr bwMode="auto">
          <a:xfrm>
            <a:off x="90432" y="6614452"/>
            <a:ext cx="72001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2" name="Picture 13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3050" y="6629389"/>
            <a:ext cx="612000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7462086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Kernaussag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28432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Eingekerbter Richtungspfeil 2"/>
          <p:cNvSpPr/>
          <p:nvPr userDrawn="1"/>
        </p:nvSpPr>
        <p:spPr bwMode="auto">
          <a:xfrm>
            <a:off x="90432" y="6614452"/>
            <a:ext cx="72001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22" name="Picture 13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3050" y="6629389"/>
            <a:ext cx="612000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Date Placeholder 5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fld id="{DD981970-1120-4907-9C4F-21AADFF62B9D}" type="datetime1">
              <a:rPr lang="de-CH" smtClean="0"/>
              <a:t>04.05.2021</a:t>
            </a:fld>
            <a:endParaRPr lang="de-CH"/>
          </a:p>
        </p:txBody>
      </p:sp>
      <p:sp>
        <p:nvSpPr>
          <p:cNvPr id="2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2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r>
              <a:rPr lang="de-CH" noProof="0"/>
              <a:t>Migros-Genossenschafts-Bund | MES – Migros Engineering Solutions | Master Power Point Vorlag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21"/>
          </p:nvPr>
        </p:nvSpPr>
        <p:spPr>
          <a:xfrm>
            <a:off x="4953000" y="0"/>
            <a:ext cx="4953000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050528" y="2852738"/>
            <a:ext cx="1556049" cy="380480"/>
          </a:xfrm>
          <a:prstGeom prst="rect">
            <a:avLst/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36000" rIns="72000" bIns="36000" anchor="ctr" anchorCtr="0">
            <a:spAutoFit/>
          </a:bodyPr>
          <a:lstStyle>
            <a:lvl1pPr marL="0" indent="0" algn="r">
              <a:buFontTx/>
              <a:buNone/>
              <a:defRPr sz="2000">
                <a:solidFill>
                  <a:schemeClr val="bg1"/>
                </a:solidFill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600">
                <a:solidFill>
                  <a:schemeClr val="bg1"/>
                </a:solidFill>
              </a:defRPr>
            </a:lvl3pPr>
            <a:lvl4pPr>
              <a:defRPr sz="3600">
                <a:solidFill>
                  <a:schemeClr val="bg1"/>
                </a:solidFill>
              </a:defRPr>
            </a:lvl4pPr>
            <a:lvl5pPr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Migros 2017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06817" y="2240769"/>
            <a:ext cx="5006229" cy="565146"/>
          </a:xfrm>
          <a:prstGeom prst="rect">
            <a:avLst/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36000" rIns="72000" bIns="36000" anchor="ctr" anchorCtr="0">
            <a:spAutoFit/>
          </a:bodyPr>
          <a:lstStyle>
            <a:lvl1pPr marL="0" indent="0" algn="r">
              <a:buFontTx/>
              <a:buNone/>
              <a:defRPr sz="3200" baseline="0">
                <a:solidFill>
                  <a:schemeClr val="bg1"/>
                </a:solidFill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600">
                <a:solidFill>
                  <a:schemeClr val="bg1"/>
                </a:solidFill>
              </a:defRPr>
            </a:lvl3pPr>
            <a:lvl4pPr>
              <a:defRPr sz="3600">
                <a:solidFill>
                  <a:schemeClr val="bg1"/>
                </a:solidFill>
              </a:defRPr>
            </a:lvl4pPr>
            <a:lvl5pPr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Zwischentitel wenn 1- zelig</a:t>
            </a:r>
          </a:p>
        </p:txBody>
      </p:sp>
      <p:sp>
        <p:nvSpPr>
          <p:cNvPr id="16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406392" y="1628800"/>
            <a:ext cx="5206654" cy="565146"/>
          </a:xfrm>
          <a:prstGeom prst="rect">
            <a:avLst/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36000" rIns="72000" bIns="36000" anchor="ctr" anchorCtr="0">
            <a:spAutoFit/>
          </a:bodyPr>
          <a:lstStyle>
            <a:lvl1pPr marL="0" indent="0" algn="r">
              <a:buFontTx/>
              <a:buNone/>
              <a:defRPr sz="3200" baseline="0">
                <a:solidFill>
                  <a:schemeClr val="bg1"/>
                </a:solidFill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600">
                <a:solidFill>
                  <a:schemeClr val="bg1"/>
                </a:solidFill>
              </a:defRPr>
            </a:lvl3pPr>
            <a:lvl4pPr>
              <a:defRPr sz="3600">
                <a:solidFill>
                  <a:schemeClr val="bg1"/>
                </a:solidFill>
              </a:defRPr>
            </a:lvl4pPr>
            <a:lvl5pPr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Zwischentitel wenn 2- zeilig</a:t>
            </a:r>
          </a:p>
        </p:txBody>
      </p:sp>
    </p:spTree>
    <p:extLst>
      <p:ext uri="{BB962C8B-B14F-4D97-AF65-F5344CB8AC3E}">
        <p14:creationId xmlns:p14="http://schemas.microsoft.com/office/powerpoint/2010/main" val="70964889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14032294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Folie" r:id="rId21" imgW="0" imgH="0" progId="TCLayout.ActiveDocument.1">
                  <p:embed/>
                </p:oleObj>
              </mc:Choice>
              <mc:Fallback>
                <p:oleObj name="think-cell Folie" r:id="rId21" imgW="0" imgH="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480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73601" y="259200"/>
            <a:ext cx="9357784" cy="43295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</a:ln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CH"/>
              <a:t>Titelmasterformat durch Klicken bearbeiten</a:t>
            </a:r>
          </a:p>
        </p:txBody>
      </p:sp>
      <p:sp>
        <p:nvSpPr>
          <p:cNvPr id="68" name="Fußzeilenplatzhalter 24"/>
          <p:cNvSpPr txBox="1"/>
          <p:nvPr/>
        </p:nvSpPr>
        <p:spPr>
          <a:xfrm>
            <a:off x="1170532" y="6640612"/>
            <a:ext cx="620077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>
            <a:off x="-65249" y="1123644"/>
            <a:ext cx="0" cy="5400981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9"/>
          <p:cNvCxnSpPr/>
          <p:nvPr/>
        </p:nvCxnSpPr>
        <p:spPr>
          <a:xfrm flipH="1">
            <a:off x="-114263" y="1123492"/>
            <a:ext cx="108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39"/>
          <p:cNvCxnSpPr/>
          <p:nvPr/>
        </p:nvCxnSpPr>
        <p:spPr>
          <a:xfrm flipH="1">
            <a:off x="-114263" y="6524625"/>
            <a:ext cx="108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31"/>
          <p:cNvCxnSpPr/>
          <p:nvPr/>
        </p:nvCxnSpPr>
        <p:spPr>
          <a:xfrm rot="5400000" flipH="1">
            <a:off x="226258" y="6912524"/>
            <a:ext cx="90000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 Verbindung 79"/>
          <p:cNvCxnSpPr/>
          <p:nvPr/>
        </p:nvCxnSpPr>
        <p:spPr>
          <a:xfrm flipV="1">
            <a:off x="273600" y="6930973"/>
            <a:ext cx="9349865" cy="1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feld 80"/>
          <p:cNvSpPr txBox="1"/>
          <p:nvPr/>
        </p:nvSpPr>
        <p:spPr bwMode="auto">
          <a:xfrm>
            <a:off x="4504174" y="6993396"/>
            <a:ext cx="894476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 rtlCol="0">
            <a:spAutoFit/>
          </a:bodyPr>
          <a:lstStyle/>
          <a:p>
            <a:pPr eaLnBrk="0" hangingPunct="0">
              <a:buClr>
                <a:schemeClr val="tx2"/>
              </a:buClr>
              <a:buSzTx/>
            </a:pPr>
            <a:r>
              <a:rPr lang="de-CH" sz="1000" b="1">
                <a:solidFill>
                  <a:schemeClr val="bg1"/>
                </a:solidFill>
              </a:rPr>
              <a:t>Arbeitsbereich</a:t>
            </a:r>
          </a:p>
        </p:txBody>
      </p:sp>
      <p:cxnSp>
        <p:nvCxnSpPr>
          <p:cNvPr id="82" name="Gerade Verbindung 39"/>
          <p:cNvCxnSpPr/>
          <p:nvPr/>
        </p:nvCxnSpPr>
        <p:spPr>
          <a:xfrm flipH="1">
            <a:off x="273804" y="6865522"/>
            <a:ext cx="1" cy="216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39"/>
          <p:cNvCxnSpPr/>
          <p:nvPr/>
        </p:nvCxnSpPr>
        <p:spPr>
          <a:xfrm flipH="1">
            <a:off x="9631201" y="6862352"/>
            <a:ext cx="0" cy="216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 bwMode="auto">
          <a:xfrm rot="16200000">
            <a:off x="-694934" y="3755342"/>
            <a:ext cx="967179" cy="1538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eaLnBrk="0" hangingPunct="0">
              <a:buClr>
                <a:schemeClr val="tx2"/>
              </a:buClr>
              <a:buSzTx/>
            </a:pPr>
            <a:r>
              <a:rPr lang="de-CH" sz="1000" b="1">
                <a:solidFill>
                  <a:schemeClr val="bg1"/>
                </a:solidFill>
              </a:rPr>
              <a:t>Arbeitsbereich</a:t>
            </a:r>
            <a:endParaRPr lang="de-CH" sz="750" b="1">
              <a:solidFill>
                <a:schemeClr val="bg1"/>
              </a:solidFill>
            </a:endParaRPr>
          </a:p>
        </p:txBody>
      </p:sp>
      <p:sp>
        <p:nvSpPr>
          <p:cNvPr id="5" name="Gleichschenkliges Dreieck 4"/>
          <p:cNvSpPr/>
          <p:nvPr/>
        </p:nvSpPr>
        <p:spPr bwMode="auto">
          <a:xfrm rot="16200000">
            <a:off x="9902595" y="3767334"/>
            <a:ext cx="112342" cy="108012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1400" err="1"/>
          </a:p>
        </p:txBody>
      </p:sp>
      <p:sp>
        <p:nvSpPr>
          <p:cNvPr id="59" name="Gleichschenkliges Dreieck 58"/>
          <p:cNvSpPr/>
          <p:nvPr/>
        </p:nvSpPr>
        <p:spPr bwMode="auto">
          <a:xfrm rot="5400000">
            <a:off x="-110996" y="3770128"/>
            <a:ext cx="112342" cy="108012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1400" err="1"/>
          </a:p>
        </p:txBody>
      </p:sp>
      <p:sp>
        <p:nvSpPr>
          <p:cNvPr id="60" name="Gleichschenkliges Dreieck 59"/>
          <p:cNvSpPr/>
          <p:nvPr/>
        </p:nvSpPr>
        <p:spPr bwMode="auto">
          <a:xfrm>
            <a:off x="4895213" y="6861324"/>
            <a:ext cx="112342" cy="108012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1400" err="1"/>
          </a:p>
        </p:txBody>
      </p:sp>
      <p:pic>
        <p:nvPicPr>
          <p:cNvPr id="8" name="MigrosClassification_P"/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4771182" y="116632"/>
            <a:ext cx="363636" cy="363636"/>
          </a:xfrm>
          <a:prstGeom prst="rect">
            <a:avLst/>
          </a:prstGeom>
        </p:spPr>
      </p:pic>
      <p:sp>
        <p:nvSpPr>
          <p:cNvPr id="21" name="Textplatzhalter 10"/>
          <p:cNvSpPr>
            <a:spLocks noGrp="1"/>
          </p:cNvSpPr>
          <p:nvPr>
            <p:ph type="body" idx="1"/>
          </p:nvPr>
        </p:nvSpPr>
        <p:spPr>
          <a:xfrm>
            <a:off x="273048" y="1123492"/>
            <a:ext cx="9357784" cy="4525963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087479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83" r:id="rId2"/>
    <p:sldLayoutId id="2147483782" r:id="rId3"/>
    <p:sldLayoutId id="2147483792" r:id="rId4"/>
    <p:sldLayoutId id="2147483798" r:id="rId5"/>
    <p:sldLayoutId id="2147483797" r:id="rId6"/>
    <p:sldLayoutId id="2147483746" r:id="rId7"/>
    <p:sldLayoutId id="2147483790" r:id="rId8"/>
    <p:sldLayoutId id="2147483749" r:id="rId9"/>
    <p:sldLayoutId id="2147483752" r:id="rId10"/>
    <p:sldLayoutId id="2147483757" r:id="rId11"/>
    <p:sldLayoutId id="2147483777" r:id="rId12"/>
    <p:sldLayoutId id="2147483776" r:id="rId13"/>
    <p:sldLayoutId id="2147483795" r:id="rId14"/>
    <p:sldLayoutId id="2147483780" r:id="rId15"/>
    <p:sldLayoutId id="2147483796" r:id="rId16"/>
    <p:sldLayoutId id="2147483794" r:id="rId17"/>
  </p:sldLayoutIdLst>
  <p:transition/>
  <p:hf hdr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400" b="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/>
        </a:defRPr>
      </a:lvl2pPr>
      <a:lvl3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/>
        </a:defRPr>
      </a:lvl3pPr>
      <a:lvl4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/>
        </a:defRPr>
      </a:lvl4pPr>
      <a:lvl5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/>
        </a:defRPr>
      </a:lvl5pPr>
      <a:lvl6pPr marL="4572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/>
        </a:defRPr>
      </a:lvl6pPr>
      <a:lvl7pPr marL="9144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/>
        </a:defRPr>
      </a:lvl7pPr>
      <a:lvl8pPr marL="13716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/>
        </a:defRPr>
      </a:lvl8pPr>
      <a:lvl9pPr marL="18288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/>
        </a:defRPr>
      </a:lvl9pPr>
    </p:titleStyle>
    <p:bodyStyle>
      <a:lvl1pPr marL="180975" indent="-180975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2pPr>
      <a:lvl3pPr marL="358775" indent="-180975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chemeClr val="accent1"/>
        </a:buClr>
        <a:buFont typeface="Arial Unicode MS" panose="020B0604020202020204" pitchFamily="34" charset="-128"/>
        <a:buChar char="ｰ"/>
        <a:defRPr sz="1600">
          <a:solidFill>
            <a:schemeClr val="tx1"/>
          </a:solidFill>
          <a:latin typeface="+mn-lt"/>
        </a:defRPr>
      </a:lvl3pPr>
      <a:lvl4pPr marL="536575" indent="-17780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chemeClr val="accent1"/>
        </a:buClr>
        <a:buFont typeface="Arial Unicode MS" panose="020B0604020202020204" pitchFamily="34" charset="-128"/>
        <a:buChar char="-"/>
        <a:defRPr sz="1600">
          <a:solidFill>
            <a:schemeClr val="tx1"/>
          </a:solidFill>
          <a:latin typeface="+mn-lt"/>
        </a:defRPr>
      </a:lvl4pPr>
      <a:lvl5pPr marL="717550" indent="-180975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-"/>
        <a:defRPr lang="de-CH" sz="1600">
          <a:solidFill>
            <a:schemeClr val="tx1"/>
          </a:solidFill>
          <a:latin typeface="+mn-lt"/>
        </a:defRPr>
      </a:lvl5pPr>
      <a:lvl6pPr marL="26749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6pPr>
      <a:lvl7pPr marL="31321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7pPr>
      <a:lvl8pPr marL="35893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8pPr>
      <a:lvl9pPr marL="40465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7.png"/><Relationship Id="rId7" Type="http://schemas.openxmlformats.org/officeDocument/2006/relationships/hyperlink" Target="https://webcomponents.dev/blog/all-the-ways-to-make-a-web-component/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custom-elements-everywhere.com/" TargetMode="External"/><Relationship Id="rId11" Type="http://schemas.openxmlformats.org/officeDocument/2006/relationships/image" Target="../media/image23.png"/><Relationship Id="rId5" Type="http://schemas.openxmlformats.org/officeDocument/2006/relationships/image" Target="../media/image19.png"/><Relationship Id="rId10" Type="http://schemas.openxmlformats.org/officeDocument/2006/relationships/image" Target="../media/image22.svg"/><Relationship Id="rId4" Type="http://schemas.openxmlformats.org/officeDocument/2006/relationships/image" Target="../media/image18.png"/><Relationship Id="rId9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reactjs.org/docs/web-components.html" TargetMode="External"/><Relationship Id="rId3" Type="http://schemas.openxmlformats.org/officeDocument/2006/relationships/hyperlink" Target="https://developer.mozilla.org/en-US/docs/Web/API/CustomEvent" TargetMode="External"/><Relationship Id="rId7" Type="http://schemas.openxmlformats.org/officeDocument/2006/relationships/hyperlink" Target="https://custom-elements-everywhere.com/" TargetMode="External"/><Relationship Id="rId12" Type="http://schemas.openxmlformats.org/officeDocument/2006/relationships/hyperlink" Target="https://unsplash.com/s/photos/lego?utm_source=unsplash&amp;utm_medium=referral&amp;utm_content=creditCopyText" TargetMode="External"/><Relationship Id="rId2" Type="http://schemas.openxmlformats.org/officeDocument/2006/relationships/hyperlink" Target="https://github.com/mits-gossau/misc_demos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developers.google.com/web/fundamentals/web-components/" TargetMode="External"/><Relationship Id="rId11" Type="http://schemas.openxmlformats.org/officeDocument/2006/relationships/hyperlink" Target="https://unsplash.com/@colorflores?utm_source=unsplash&amp;utm_medium=referral&amp;utm_content=creditCopyText" TargetMode="External"/><Relationship Id="rId5" Type="http://schemas.openxmlformats.org/officeDocument/2006/relationships/hyperlink" Target="https://html.spec.whatwg.org/multipage/custom-elements.html#custom-elements" TargetMode="External"/><Relationship Id="rId10" Type="http://schemas.openxmlformats.org/officeDocument/2006/relationships/hyperlink" Target="https://webcomponents.dev/blog/all-the-ways-to-make-a-web-component/" TargetMode="External"/><Relationship Id="rId4" Type="http://schemas.openxmlformats.org/officeDocument/2006/relationships/hyperlink" Target="https://developer.mozilla.org/en-US/docs/Web/Web_Components" TargetMode="External"/><Relationship Id="rId9" Type="http://schemas.openxmlformats.org/officeDocument/2006/relationships/hyperlink" Target="https://dev.to/steveblue/it-s-not-about-web-components-vs-react-5137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mits-gossau/event-driven-web-components-realworld-example-app" TargetMode="External"/><Relationship Id="rId2" Type="http://schemas.openxmlformats.org/officeDocument/2006/relationships/hyperlink" Target="https://mits-gossau.github.io/event-driven-web-components-realworld-example-app/" TargetMode="Externa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2">
            <a:extLst>
              <a:ext uri="{FF2B5EF4-FFF2-40B4-BE49-F238E27FC236}">
                <a16:creationId xmlns:a16="http://schemas.microsoft.com/office/drawing/2014/main" id="{6883E6BB-8172-455B-9271-FDAC8BD21D9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7420" b="17420"/>
          <a:stretch/>
        </p:blipFill>
        <p:spPr>
          <a:xfrm>
            <a:off x="860" y="-634"/>
            <a:ext cx="9918989" cy="6143451"/>
          </a:xfrm>
          <a:prstGeom prst="rect">
            <a:avLst/>
          </a:prstGeom>
        </p:spPr>
      </p:pic>
      <p:sp>
        <p:nvSpPr>
          <p:cNvPr id="18" name="Textplatzhalter 8"/>
          <p:cNvSpPr>
            <a:spLocks noGrp="1"/>
          </p:cNvSpPr>
          <p:nvPr>
            <p:ph type="body" sz="quarter" idx="22"/>
          </p:nvPr>
        </p:nvSpPr>
        <p:spPr>
          <a:xfrm>
            <a:off x="793" y="2852738"/>
            <a:ext cx="3087018" cy="358669"/>
          </a:xfrm>
        </p:spPr>
        <p:txBody>
          <a:bodyPr/>
          <a:lstStyle/>
          <a:p>
            <a:r>
              <a:rPr lang="de-CH"/>
              <a:t>Maria, Valentin &amp; Silvan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793" y="3249613"/>
            <a:ext cx="3372353" cy="358669"/>
          </a:xfrm>
        </p:spPr>
        <p:txBody>
          <a:bodyPr/>
          <a:lstStyle/>
          <a:p>
            <a:r>
              <a:rPr lang="de-CH"/>
              <a:t>Digital Touchpoint Gossau</a:t>
            </a:r>
          </a:p>
        </p:txBody>
      </p:sp>
      <p:sp>
        <p:nvSpPr>
          <p:cNvPr id="21" name="Textplatzhalter 11"/>
          <p:cNvSpPr>
            <a:spLocks noGrp="1"/>
          </p:cNvSpPr>
          <p:nvPr>
            <p:ph type="body" sz="quarter" idx="25"/>
          </p:nvPr>
        </p:nvSpPr>
        <p:spPr>
          <a:xfrm>
            <a:off x="793" y="2269203"/>
            <a:ext cx="5792042" cy="543335"/>
          </a:xfrm>
        </p:spPr>
        <p:txBody>
          <a:bodyPr/>
          <a:lstStyle/>
          <a:p>
            <a:r>
              <a:rPr lang="de-CH"/>
              <a:t>Web Components Deep </a:t>
            </a:r>
            <a:r>
              <a:rPr lang="de-CH" err="1"/>
              <a:t>Dive</a:t>
            </a:r>
          </a:p>
        </p:txBody>
      </p:sp>
    </p:spTree>
    <p:extLst>
      <p:ext uri="{BB962C8B-B14F-4D97-AF65-F5344CB8AC3E}">
        <p14:creationId xmlns:p14="http://schemas.microsoft.com/office/powerpoint/2010/main" val="1077379542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itel 76"/>
          <p:cNvSpPr>
            <a:spLocks noGrp="1"/>
          </p:cNvSpPr>
          <p:nvPr>
            <p:ph type="title"/>
          </p:nvPr>
        </p:nvSpPr>
        <p:spPr>
          <a:xfrm>
            <a:off x="273601" y="259200"/>
            <a:ext cx="9357784" cy="432950"/>
          </a:xfrm>
        </p:spPr>
        <p:txBody>
          <a:bodyPr wrap="square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CH"/>
              <a:t>Web Components - JS Frameworks</a:t>
            </a:r>
            <a:endParaRPr lang="de-DE"/>
          </a:p>
        </p:txBody>
      </p:sp>
      <p:sp>
        <p:nvSpPr>
          <p:cNvPr id="79" name="Textplatzhalter 78"/>
          <p:cNvSpPr>
            <a:spLocks noGrp="1"/>
          </p:cNvSpPr>
          <p:nvPr>
            <p:ph type="body" sz="quarter" idx="17"/>
          </p:nvPr>
        </p:nvSpPr>
        <p:spPr>
          <a:xfrm>
            <a:off x="273599" y="729162"/>
            <a:ext cx="1946466" cy="318924"/>
          </a:xfrm>
        </p:spPr>
        <p:txBody>
          <a:bodyPr wrap="none">
            <a:normAutofit/>
          </a:bodyPr>
          <a:lstStyle/>
          <a:p>
            <a:r>
              <a:rPr lang="de-CH" err="1"/>
              <a:t>Insights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fld id="{26A20EF0-1EC0-473F-8145-0A026E7A2EFE}" type="datetime1">
              <a:rPr lang="de-CH" smtClean="0"/>
              <a:pPr>
                <a:spcAft>
                  <a:spcPts val="600"/>
                </a:spcAft>
              </a:pPr>
              <a:t>04.05.2021</a:t>
            </a:fld>
            <a:endParaRPr lang="de-CH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de-CH"/>
              <a:t>| 3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r>
              <a:rPr lang="de-CH" noProof="0"/>
              <a:t>Migros-Genossenschafts-Bund | MES – Migros Engineering Solutions | Master Power Point Vorlagen</a:t>
            </a:r>
          </a:p>
        </p:txBody>
      </p:sp>
      <p:sp>
        <p:nvSpPr>
          <p:cNvPr id="9" name="Inhaltsplatzhalter 77">
            <a:extLst>
              <a:ext uri="{FF2B5EF4-FFF2-40B4-BE49-F238E27FC236}">
                <a16:creationId xmlns:a16="http://schemas.microsoft.com/office/drawing/2014/main" id="{AAD312D5-4693-4D4F-BA7D-3FBD76877F35}"/>
              </a:ext>
            </a:extLst>
          </p:cNvPr>
          <p:cNvSpPr txBox="1">
            <a:spLocks/>
          </p:cNvSpPr>
          <p:nvPr/>
        </p:nvSpPr>
        <p:spPr>
          <a:xfrm>
            <a:off x="1509986" y="5373206"/>
            <a:ext cx="6604000" cy="432950"/>
          </a:xfrm>
          <a:prstGeom prst="rect">
            <a:avLst/>
          </a:prstGeom>
        </p:spPr>
        <p:txBody>
          <a:bodyPr vert="horz" lIns="0" tIns="36000" rIns="0" bIns="36000" rtlCol="0" anchor="t">
            <a:noAutofit/>
          </a:bodyPr>
          <a:lstStyle>
            <a:lvl1pPr marL="180975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358775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 Unicode MS" panose="020B0604020202020204" pitchFamily="34" charset="-128"/>
              <a:buChar char="ｰ"/>
              <a:defRPr sz="1600">
                <a:solidFill>
                  <a:schemeClr val="tx1"/>
                </a:solidFill>
                <a:latin typeface="+mn-lt"/>
              </a:defRPr>
            </a:lvl3pPr>
            <a:lvl4pPr marL="536575" indent="-1778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 Unicode MS" panose="020B0604020202020204" pitchFamily="34" charset="-128"/>
              <a:buChar char="-"/>
              <a:defRPr sz="1600">
                <a:solidFill>
                  <a:schemeClr val="tx1"/>
                </a:solidFill>
                <a:latin typeface="+mn-lt"/>
              </a:defRPr>
            </a:lvl4pPr>
            <a:lvl5pPr marL="717550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lang="de-CH" sz="1600">
                <a:solidFill>
                  <a:schemeClr val="tx1"/>
                </a:solidFill>
                <a:latin typeface="+mn-lt"/>
              </a:defRPr>
            </a:lvl5pPr>
            <a:lvl6pPr marL="26749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31321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35893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40465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en-US" sz="1800" b="1">
                <a:solidFill>
                  <a:schemeClr val="accent1"/>
                </a:solidFill>
              </a:rPr>
              <a:t>Web Components             JS Frameworks</a:t>
            </a:r>
          </a:p>
        </p:txBody>
      </p:sp>
      <p:graphicFrame>
        <p:nvGraphicFramePr>
          <p:cNvPr id="5" name="Tabelle 5">
            <a:extLst>
              <a:ext uri="{FF2B5EF4-FFF2-40B4-BE49-F238E27FC236}">
                <a16:creationId xmlns:a16="http://schemas.microsoft.com/office/drawing/2014/main" id="{0265134D-EBDB-4AF7-80DD-1B4BE12444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8407239"/>
              </p:ext>
            </p:extLst>
          </p:nvPr>
        </p:nvGraphicFramePr>
        <p:xfrm>
          <a:off x="1206674" y="1227666"/>
          <a:ext cx="7503216" cy="36429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751608">
                  <a:extLst>
                    <a:ext uri="{9D8B030D-6E8A-4147-A177-3AD203B41FA5}">
                      <a16:colId xmlns:a16="http://schemas.microsoft.com/office/drawing/2014/main" val="575024366"/>
                    </a:ext>
                  </a:extLst>
                </a:gridCol>
                <a:gridCol w="3751608">
                  <a:extLst>
                    <a:ext uri="{9D8B030D-6E8A-4147-A177-3AD203B41FA5}">
                      <a16:colId xmlns:a16="http://schemas.microsoft.com/office/drawing/2014/main" val="1806025792"/>
                    </a:ext>
                  </a:extLst>
                </a:gridCol>
              </a:tblGrid>
              <a:tr h="576000">
                <a:tc gridSpan="2">
                  <a:txBody>
                    <a:bodyPr/>
                    <a:lstStyle/>
                    <a:p>
                      <a:pPr algn="ctr"/>
                      <a:r>
                        <a:rPr lang="de-DE"/>
                        <a:t>Web Components</a:t>
                      </a:r>
                      <a:r>
                        <a:rPr lang="de-CH"/>
                        <a:t> vs. JS </a:t>
                      </a:r>
                      <a:r>
                        <a:rPr lang="de-DE"/>
                        <a:t>Frameworks?</a:t>
                      </a:r>
                      <a:endParaRPr lang="de-CH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92175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de-DE" sz="1400" b="1"/>
                        <a:t>Ziel: </a:t>
                      </a:r>
                    </a:p>
                    <a:p>
                      <a:pPr marL="285750" indent="-285750">
                        <a:buClr>
                          <a:srgbClr val="FF66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de-DE" sz="1400"/>
                        <a:t>abgekapselte, wiederverwendbare Komponenten erstellen</a:t>
                      </a:r>
                      <a:endParaRPr lang="de-CH" sz="1400">
                        <a:solidFill>
                          <a:schemeClr val="tx1"/>
                        </a:solidFill>
                        <a:latin typeface="+mn-lt"/>
                        <a:ea typeface="+mn-lt"/>
                        <a:cs typeface="+mn-lt"/>
                      </a:endParaRPr>
                    </a:p>
                  </a:txBody>
                  <a:tcPr marL="180000" marR="180000" marT="180000" marB="180000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400" b="1" kern="1200"/>
                        <a:t>Ziel: </a:t>
                      </a:r>
                    </a:p>
                    <a:p>
                      <a:pPr marL="285750" indent="-285750">
                        <a:buClr>
                          <a:srgbClr val="FF66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de-DE" sz="1400" kern="1200"/>
                        <a:t>Funktionalitäten von JS erweitern und vereinfachen (z.B. mit State Management &amp; Synchronisation von Daten mit </a:t>
                      </a:r>
                      <a:r>
                        <a:rPr lang="de-DE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OM</a:t>
                      </a:r>
                      <a:r>
                        <a:rPr lang="de-DE" sz="1400" kern="1200"/>
                        <a:t>) </a:t>
                      </a:r>
                      <a:endParaRPr lang="de-CH" sz="1400" kern="1200">
                        <a:solidFill>
                          <a:schemeClr val="tx1"/>
                        </a:solidFill>
                        <a:latin typeface="+mn-lt"/>
                        <a:ea typeface="+mn-lt"/>
                        <a:cs typeface="+mn-lt"/>
                      </a:endParaRPr>
                    </a:p>
                  </a:txBody>
                  <a:tcPr marL="180000" marR="180000" marT="180000" marB="180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15244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85750" indent="-285750">
                        <a:buClr>
                          <a:srgbClr val="FF66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de-DE" sz="1400"/>
                        <a:t>sind Teil des HTML Living Standard und somit nativ im Browser verfügbar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400"/>
                        <a:t>im Prinzip unabhängig zu Framework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400"/>
                        <a:t>können mit JS Frameworks verwendet werden (nach Berücksichtigung im Framework)</a:t>
                      </a:r>
                      <a:endParaRPr lang="de-DE" sz="1400">
                        <a:solidFill>
                          <a:schemeClr val="tx1"/>
                        </a:solidFill>
                        <a:latin typeface="+mn-lt"/>
                        <a:ea typeface="+mn-lt"/>
                        <a:cs typeface="+mn-lt"/>
                      </a:endParaRPr>
                    </a:p>
                  </a:txBody>
                  <a:tcPr marL="180000" marR="180000" marT="180000" marB="180000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400" kern="1200"/>
                        <a:t>sind komplementär zu nativen Implementierungen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400" kern="1200"/>
                        <a:t>Community-Driven: sind exklusiv für die jeweilige Community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400" kern="1200"/>
                        <a:t>Frameworks untereinander werden i.d.R. nicht miteinander kombiniert</a:t>
                      </a:r>
                      <a:endParaRPr lang="de-CH" sz="1400" kern="1200">
                        <a:solidFill>
                          <a:schemeClr val="tx1"/>
                        </a:solidFill>
                        <a:latin typeface="+mn-lt"/>
                        <a:ea typeface="+mn-lt"/>
                        <a:cs typeface="+mn-lt"/>
                      </a:endParaRPr>
                    </a:p>
                  </a:txBody>
                  <a:tcPr marL="180000" marR="180000" marT="180000" marB="18000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91385132"/>
                  </a:ext>
                </a:extLst>
              </a:tr>
            </a:tbl>
          </a:graphicData>
        </a:graphic>
      </p:graphicFrame>
      <p:pic>
        <p:nvPicPr>
          <p:cNvPr id="18" name="Grafik 17" descr="Puzzleteile">
            <a:extLst>
              <a:ext uri="{FF2B5EF4-FFF2-40B4-BE49-F238E27FC236}">
                <a16:creationId xmlns:a16="http://schemas.microsoft.com/office/drawing/2014/main" id="{0D89269A-852D-4554-B264-2CCC228E59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4666201" y="5262374"/>
            <a:ext cx="540000" cy="540000"/>
          </a:xfrm>
          <a:prstGeom prst="rect">
            <a:avLst/>
          </a:prstGeom>
        </p:spPr>
      </p:pic>
      <p:pic>
        <p:nvPicPr>
          <p:cNvPr id="24" name="Grafik 23" descr="Puzzle">
            <a:extLst>
              <a:ext uri="{FF2B5EF4-FFF2-40B4-BE49-F238E27FC236}">
                <a16:creationId xmlns:a16="http://schemas.microsoft.com/office/drawing/2014/main" id="{3B90944E-47B0-4F7C-AFD4-9EEE559F425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81419" y="2986802"/>
            <a:ext cx="535254" cy="535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374883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itel 76"/>
          <p:cNvSpPr>
            <a:spLocks noGrp="1"/>
          </p:cNvSpPr>
          <p:nvPr>
            <p:ph type="title"/>
          </p:nvPr>
        </p:nvSpPr>
        <p:spPr>
          <a:xfrm>
            <a:off x="273601" y="259200"/>
            <a:ext cx="9357784" cy="432950"/>
          </a:xfrm>
        </p:spPr>
        <p:txBody>
          <a:bodyPr wrap="square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CH"/>
              <a:t>Web Components - JS Frameworks</a:t>
            </a:r>
            <a:endParaRPr lang="de-DE"/>
          </a:p>
        </p:txBody>
      </p:sp>
      <p:sp>
        <p:nvSpPr>
          <p:cNvPr id="79" name="Textplatzhalter 78"/>
          <p:cNvSpPr>
            <a:spLocks noGrp="1"/>
          </p:cNvSpPr>
          <p:nvPr>
            <p:ph type="body" sz="quarter" idx="17"/>
          </p:nvPr>
        </p:nvSpPr>
        <p:spPr>
          <a:xfrm>
            <a:off x="273599" y="729162"/>
            <a:ext cx="1946466" cy="318924"/>
          </a:xfrm>
        </p:spPr>
        <p:txBody>
          <a:bodyPr wrap="none">
            <a:normAutofit/>
          </a:bodyPr>
          <a:lstStyle/>
          <a:p>
            <a:r>
              <a:rPr lang="de-CH" err="1"/>
              <a:t>Insights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fld id="{26A20EF0-1EC0-473F-8145-0A026E7A2EFE}" type="datetime1">
              <a:rPr lang="de-CH" smtClean="0"/>
              <a:pPr>
                <a:spcAft>
                  <a:spcPts val="600"/>
                </a:spcAft>
              </a:pPr>
              <a:t>04.05.2021</a:t>
            </a:fld>
            <a:endParaRPr lang="de-CH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de-CH"/>
              <a:t>| 3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r>
              <a:rPr lang="de-CH" noProof="0"/>
              <a:t>Migros-Genossenschafts-Bund | MES – Migros Engineering Solutions | Master Power Point Vorlag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158DC14-6D26-4245-A854-06F8C4B97D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8788" y="3274177"/>
            <a:ext cx="1401468" cy="1401468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DA988695-6557-4AD1-85BA-2C9644BA548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5644" y="2193457"/>
            <a:ext cx="1721220" cy="121561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86A8863F-8917-405B-AD9E-48B21E6EF08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0625" y="3551118"/>
            <a:ext cx="773919" cy="93211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F3DF377-2F18-426A-AED9-68DF78CE573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88" y="2320330"/>
            <a:ext cx="1047238" cy="907489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2572CF40-D564-4214-AA66-AC8B355C64EF}"/>
              </a:ext>
            </a:extLst>
          </p:cNvPr>
          <p:cNvSpPr/>
          <p:nvPr/>
        </p:nvSpPr>
        <p:spPr>
          <a:xfrm>
            <a:off x="898943" y="5165422"/>
            <a:ext cx="70530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-elements-everywhere.com</a:t>
            </a:r>
            <a:endParaRPr lang="de-CH"/>
          </a:p>
          <a:p>
            <a:r>
              <a:rPr lang="en-US" err="1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bcomponents.dev</a:t>
            </a:r>
            <a:r>
              <a:rPr lang="en-US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- All the ways to make a Web Component</a:t>
            </a:r>
            <a:endParaRPr lang="de-CH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620705E4-E40E-4782-9441-0F987DE4963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1289" y="1980975"/>
            <a:ext cx="1765312" cy="926789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A1D6DF92-7C4A-4AB7-BC6C-12885E568B68}"/>
              </a:ext>
            </a:extLst>
          </p:cNvPr>
          <p:cNvSpPr/>
          <p:nvPr/>
        </p:nvSpPr>
        <p:spPr>
          <a:xfrm>
            <a:off x="5911289" y="1686859"/>
            <a:ext cx="324788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/>
              <a:t>Web Components Libraries</a:t>
            </a:r>
            <a:endParaRPr lang="de-CH" b="1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993CE7B0-571F-43E7-A555-21449C2D2252}"/>
              </a:ext>
            </a:extLst>
          </p:cNvPr>
          <p:cNvSpPr/>
          <p:nvPr/>
        </p:nvSpPr>
        <p:spPr>
          <a:xfrm>
            <a:off x="811665" y="1686859"/>
            <a:ext cx="39555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/>
              <a:t>Frameworks</a:t>
            </a:r>
            <a:endParaRPr lang="de-CH" b="1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86861EF9-EC49-4CAA-9FF9-C1406444DD8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712366" y="2155512"/>
            <a:ext cx="865564" cy="407324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4A333ABC-4653-4865-8F6F-0FE94B9CCCF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2032" y="2721202"/>
            <a:ext cx="1802286" cy="628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249252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itel 7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>
                <a:ea typeface="+mj-lt"/>
                <a:cs typeface="+mj-lt"/>
              </a:rPr>
              <a:t>Q &amp; A</a:t>
            </a:r>
            <a:endParaRPr lang="de-DE"/>
          </a:p>
        </p:txBody>
      </p:sp>
      <p:sp>
        <p:nvSpPr>
          <p:cNvPr id="79" name="Textplatzhalter 78"/>
          <p:cNvSpPr>
            <a:spLocks noGrp="1"/>
          </p:cNvSpPr>
          <p:nvPr>
            <p:ph type="body" sz="quarter" idx="11"/>
          </p:nvPr>
        </p:nvSpPr>
        <p:spPr>
          <a:xfrm>
            <a:off x="273599" y="729162"/>
            <a:ext cx="872084" cy="318924"/>
          </a:xfrm>
        </p:spPr>
        <p:txBody>
          <a:bodyPr/>
          <a:lstStyle/>
          <a:p>
            <a:r>
              <a:rPr lang="de-CH"/>
              <a:t>Fragen?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6A20EF0-1EC0-473F-8145-0A026E7A2EFE}" type="datetime1">
              <a:rPr lang="de-CH" smtClean="0"/>
              <a:t>04.05.2021</a:t>
            </a:fld>
            <a:endParaRPr lang="de-CH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r>
              <a:rPr lang="de-CH"/>
              <a:t>| 3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 noProof="0"/>
              <a:t>Migros-Genossenschafts-Bund | MES – Migros Engineering Solutions | Master Power Point Vorlagen</a:t>
            </a:r>
          </a:p>
        </p:txBody>
      </p:sp>
      <p:pic>
        <p:nvPicPr>
          <p:cNvPr id="8" name="Grafik 8" descr="Ein Bild, das Text enthält.&#10;&#10;Beschreibung automatisch generiert.">
            <a:extLst>
              <a:ext uri="{FF2B5EF4-FFF2-40B4-BE49-F238E27FC236}">
                <a16:creationId xmlns:a16="http://schemas.microsoft.com/office/drawing/2014/main" id="{43CE0B2F-B8F6-4928-A92C-1F16AB415745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2937650" y="1655510"/>
            <a:ext cx="4297911" cy="4316019"/>
          </a:xfrm>
        </p:spPr>
      </p:pic>
    </p:spTree>
    <p:extLst>
      <p:ext uri="{BB962C8B-B14F-4D97-AF65-F5344CB8AC3E}">
        <p14:creationId xmlns:p14="http://schemas.microsoft.com/office/powerpoint/2010/main" val="574507910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itel 7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>
                <a:ea typeface="+mj-lt"/>
                <a:cs typeface="+mj-lt"/>
              </a:rPr>
              <a:t>Links</a:t>
            </a:r>
            <a:endParaRPr lang="de-DE">
              <a:ea typeface="+mj-lt"/>
              <a:cs typeface="+mj-lt"/>
            </a:endParaRPr>
          </a:p>
        </p:txBody>
      </p:sp>
      <p:sp>
        <p:nvSpPr>
          <p:cNvPr id="78" name="Inhaltsplatzhalter 77"/>
          <p:cNvSpPr>
            <a:spLocks noGrp="1"/>
          </p:cNvSpPr>
          <p:nvPr>
            <p:ph sz="quarter" idx="10"/>
          </p:nvPr>
        </p:nvSpPr>
        <p:spPr>
          <a:xfrm>
            <a:off x="273050" y="1125538"/>
            <a:ext cx="9369765" cy="5003300"/>
          </a:xfrm>
        </p:spPr>
        <p:txBody>
          <a:bodyPr vert="horz" lIns="0" tIns="36000" rIns="0" bIns="36000" rtlCol="0" anchor="t">
            <a:noAutofit/>
          </a:bodyPr>
          <a:lstStyle/>
          <a:p>
            <a:pPr marL="0" indent="0">
              <a:spcAft>
                <a:spcPts val="0"/>
              </a:spcAft>
              <a:buNone/>
            </a:pPr>
            <a:r>
              <a:rPr lang="en-US" b="1" dirty="0">
                <a:latin typeface="+mj-lt"/>
                <a:ea typeface="+mn-lt"/>
                <a:cs typeface="+mn-lt"/>
              </a:rPr>
              <a:t>Demos</a:t>
            </a:r>
          </a:p>
          <a:p>
            <a:pPr marL="0" indent="0">
              <a:spcAft>
                <a:spcPts val="0"/>
              </a:spcAft>
              <a:buNone/>
            </a:pPr>
            <a:endParaRPr lang="en-US">
              <a:latin typeface="+mj-lt"/>
              <a:ea typeface="+mn-lt"/>
              <a:cs typeface="+mn-lt"/>
            </a:endParaRPr>
          </a:p>
          <a:p>
            <a:pPr>
              <a:spcAft>
                <a:spcPts val="0"/>
              </a:spcAft>
            </a:pPr>
            <a:r>
              <a:rPr lang="en-US" dirty="0">
                <a:ea typeface="+mn-lt"/>
                <a:cs typeface="+mn-lt"/>
                <a:hlinkClick r:id="rId2"/>
              </a:rPr>
              <a:t>https://github.com/mits-gossau/misc_demos</a:t>
            </a:r>
            <a:endParaRPr lang="en-US" dirty="0">
              <a:latin typeface="+mj-lt"/>
              <a:ea typeface="+mn-lt"/>
              <a:cs typeface="+mn-lt"/>
            </a:endParaRPr>
          </a:p>
          <a:p>
            <a:pPr marL="0" indent="0">
              <a:spcAft>
                <a:spcPts val="0"/>
              </a:spcAft>
              <a:buNone/>
            </a:pPr>
            <a:endParaRPr lang="en-US">
              <a:latin typeface="+mj-lt"/>
              <a:ea typeface="+mn-lt"/>
              <a:cs typeface="+mn-lt"/>
            </a:endParaRPr>
          </a:p>
          <a:p>
            <a:pPr marL="0" indent="0">
              <a:spcAft>
                <a:spcPts val="0"/>
              </a:spcAft>
              <a:buNone/>
            </a:pPr>
            <a:r>
              <a:rPr lang="en-US" b="1" dirty="0">
                <a:latin typeface="+mj-lt"/>
                <a:ea typeface="+mn-lt"/>
                <a:cs typeface="+mn-lt"/>
              </a:rPr>
              <a:t>Links &amp; </a:t>
            </a:r>
            <a:r>
              <a:rPr lang="en-US" b="1" dirty="0" err="1">
                <a:latin typeface="+mj-lt"/>
                <a:ea typeface="+mn-lt"/>
                <a:cs typeface="+mn-lt"/>
              </a:rPr>
              <a:t>Infos</a:t>
            </a:r>
            <a:endParaRPr lang="en-US" b="1" dirty="0">
              <a:latin typeface="+mj-lt"/>
              <a:ea typeface="+mn-lt"/>
              <a:cs typeface="+mn-lt"/>
            </a:endParaRPr>
          </a:p>
          <a:p>
            <a:pPr marL="0" indent="0">
              <a:spcAft>
                <a:spcPts val="0"/>
              </a:spcAft>
              <a:buNone/>
            </a:pPr>
            <a:endParaRPr lang="en-US" b="1">
              <a:latin typeface="+mj-lt"/>
              <a:ea typeface="+mn-lt"/>
              <a:cs typeface="+mn-lt"/>
            </a:endParaRPr>
          </a:p>
          <a:p>
            <a:pPr>
              <a:spcAft>
                <a:spcPts val="0"/>
              </a:spcAft>
              <a:buFont typeface="Arial,Sans-Serif"/>
              <a:buChar char="•"/>
            </a:pPr>
            <a:r>
              <a:rPr lang="en-US" dirty="0">
                <a:latin typeface="+mj-lt"/>
                <a:ea typeface="+mn-lt"/>
                <a:cs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Event - Web APIs | MDN (mozilla.org)</a:t>
            </a:r>
            <a:endParaRPr lang="en-US" dirty="0">
              <a:latin typeface="+mj-lt"/>
            </a:endParaRPr>
          </a:p>
          <a:p>
            <a:pPr>
              <a:spcAft>
                <a:spcPts val="0"/>
              </a:spcAft>
              <a:buFont typeface="Arial,Sans-Serif"/>
              <a:buChar char="•"/>
            </a:pPr>
            <a:r>
              <a:rPr lang="en-US" dirty="0">
                <a:latin typeface="+mj-lt"/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b Components | MDN (mozilla.org)</a:t>
            </a:r>
            <a:endParaRPr lang="en-US" dirty="0">
              <a:latin typeface="+mj-lt"/>
            </a:endParaRPr>
          </a:p>
          <a:p>
            <a:pPr>
              <a:spcAft>
                <a:spcPts val="0"/>
              </a:spcAft>
              <a:buFont typeface="Arial,Sans-Serif"/>
              <a:buChar char="•"/>
            </a:pPr>
            <a:r>
              <a:rPr lang="en-US" dirty="0">
                <a:latin typeface="+mj-lt"/>
                <a:ea typeface="+mn-lt"/>
                <a:cs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ML Standard (whatwg.org)</a:t>
            </a:r>
            <a:endParaRPr lang="en-US" dirty="0">
              <a:latin typeface="+mj-lt"/>
              <a:ea typeface="+mn-lt"/>
              <a:cs typeface="+mn-lt"/>
            </a:endParaRPr>
          </a:p>
          <a:p>
            <a:pPr>
              <a:spcAft>
                <a:spcPts val="0"/>
              </a:spcAft>
              <a:buFont typeface="Arial,Sans-Serif"/>
              <a:buChar char="•"/>
            </a:pPr>
            <a:r>
              <a:rPr lang="de-DE" altLang="de-DE" dirty="0">
                <a:latin typeface="+mj-lt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evelopers.google.com/web/fundamentals/web-components/</a:t>
            </a:r>
            <a:endParaRPr lang="de-DE" altLang="de-DE" dirty="0">
              <a:latin typeface="+mj-lt"/>
            </a:endParaRPr>
          </a:p>
          <a:p>
            <a:pPr marL="0" indent="0">
              <a:spcAft>
                <a:spcPts val="0"/>
              </a:spcAft>
              <a:buNone/>
            </a:pPr>
            <a:endParaRPr lang="en-US">
              <a:latin typeface="+mj-lt"/>
              <a:ea typeface="+mn-lt"/>
              <a:cs typeface="+mn-lt"/>
            </a:endParaRPr>
          </a:p>
          <a:p>
            <a:pPr marL="0" indent="0">
              <a:spcAft>
                <a:spcPts val="0"/>
              </a:spcAft>
              <a:buNone/>
            </a:pPr>
            <a:r>
              <a:rPr lang="en-US" b="1" dirty="0">
                <a:latin typeface="+mj-lt"/>
                <a:ea typeface="+mn-lt"/>
                <a:cs typeface="+mn-lt"/>
              </a:rPr>
              <a:t>JS Frameworks &amp; Web Components</a:t>
            </a:r>
          </a:p>
          <a:p>
            <a:pPr marL="0" indent="0">
              <a:spcAft>
                <a:spcPts val="0"/>
              </a:spcAft>
              <a:buNone/>
            </a:pPr>
            <a:endParaRPr lang="en-US" b="1">
              <a:latin typeface="+mj-lt"/>
              <a:ea typeface="+mn-lt"/>
              <a:cs typeface="+mn-lt"/>
            </a:endParaRPr>
          </a:p>
          <a:p>
            <a:pPr>
              <a:spcAft>
                <a:spcPts val="0"/>
              </a:spcAft>
            </a:pPr>
            <a:r>
              <a:rPr lang="de-CH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ustom-elements-everywhere.com</a:t>
            </a:r>
            <a:endParaRPr lang="de-CH" dirty="0"/>
          </a:p>
          <a:p>
            <a:pPr>
              <a:spcAft>
                <a:spcPts val="0"/>
              </a:spcAft>
            </a:pPr>
            <a:r>
              <a:rPr lang="de-CH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reactjs.org/docs/web-components.html</a:t>
            </a:r>
            <a:endParaRPr lang="de-CH" dirty="0"/>
          </a:p>
          <a:p>
            <a:pPr>
              <a:spcAft>
                <a:spcPts val="0"/>
              </a:spcAft>
            </a:pPr>
            <a:r>
              <a:rPr lang="de-CH" dirty="0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ev.to/steveblue/it-s-not-about-web-components-vs-react-5137</a:t>
            </a:r>
            <a:endParaRPr lang="de-CH" dirty="0"/>
          </a:p>
          <a:p>
            <a:pPr>
              <a:spcAft>
                <a:spcPts val="0"/>
              </a:spcAft>
            </a:pPr>
            <a:r>
              <a:rPr lang="de-CH" dirty="0"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ebcomponents.dev/blog/all-the-ways-to-make-a-web-component/</a:t>
            </a:r>
            <a:endParaRPr lang="de-CH" dirty="0"/>
          </a:p>
          <a:p>
            <a:pPr>
              <a:spcAft>
                <a:spcPts val="0"/>
              </a:spcAft>
            </a:pPr>
            <a:endParaRPr lang="de-CH" dirty="0"/>
          </a:p>
          <a:p>
            <a:pPr>
              <a:spcAft>
                <a:spcPts val="0"/>
              </a:spcAft>
            </a:pPr>
            <a:endParaRPr lang="de-CH" dirty="0"/>
          </a:p>
          <a:p>
            <a:pPr marL="0" indent="0">
              <a:spcAft>
                <a:spcPts val="0"/>
              </a:spcAft>
              <a:buNone/>
            </a:pPr>
            <a:r>
              <a:rPr lang="de-CH" dirty="0">
                <a:ea typeface="+mn-lt"/>
                <a:cs typeface="+mn-lt"/>
              </a:rPr>
              <a:t>Foto auf Folie 1 von </a:t>
            </a:r>
            <a:r>
              <a:rPr lang="de-CH" dirty="0">
                <a:ea typeface="+mn-lt"/>
                <a:cs typeface="+mn-lt"/>
                <a:hlinkClick r:id="rId11"/>
              </a:rPr>
              <a:t>Omar Flores</a:t>
            </a:r>
            <a:r>
              <a:rPr lang="de-CH" dirty="0">
                <a:ea typeface="+mn-lt"/>
                <a:cs typeface="+mn-lt"/>
              </a:rPr>
              <a:t> auf </a:t>
            </a:r>
            <a:r>
              <a:rPr lang="de-CH" dirty="0">
                <a:ea typeface="+mn-lt"/>
                <a:cs typeface="+mn-lt"/>
                <a:hlinkClick r:id="rId12"/>
              </a:rPr>
              <a:t>Unsplash</a:t>
            </a:r>
            <a:r>
              <a:rPr lang="de-CH" dirty="0">
                <a:ea typeface="+mn-lt"/>
                <a:cs typeface="+mn-lt"/>
              </a:rPr>
              <a:t> </a:t>
            </a:r>
            <a:endParaRPr lang="de-CH"/>
          </a:p>
          <a:p>
            <a:pPr>
              <a:spcAft>
                <a:spcPts val="0"/>
              </a:spcAft>
            </a:pPr>
            <a:endParaRPr lang="de-CH">
              <a:latin typeface="+mj-lt"/>
              <a:ea typeface="+mn-lt"/>
              <a:cs typeface="+mn-lt"/>
            </a:endParaRPr>
          </a:p>
          <a:p>
            <a:pPr>
              <a:spcAft>
                <a:spcPts val="0"/>
              </a:spcAft>
            </a:pPr>
            <a:endParaRPr lang="de-CH">
              <a:latin typeface="+mj-lt"/>
              <a:ea typeface="+mn-lt"/>
              <a:cs typeface="+mn-lt"/>
            </a:endParaRPr>
          </a:p>
          <a:p>
            <a:pPr>
              <a:spcAft>
                <a:spcPts val="0"/>
              </a:spcAft>
            </a:pPr>
            <a:endParaRPr lang="de-CH">
              <a:latin typeface="+mj-lt"/>
              <a:ea typeface="+mn-lt"/>
              <a:cs typeface="+mn-lt"/>
            </a:endParaRPr>
          </a:p>
          <a:p>
            <a:pPr>
              <a:spcAft>
                <a:spcPts val="0"/>
              </a:spcAft>
            </a:pPr>
            <a:endParaRPr lang="en-US">
              <a:latin typeface="+mj-lt"/>
              <a:ea typeface="+mn-lt"/>
              <a:cs typeface="+mn-lt"/>
            </a:endParaRPr>
          </a:p>
        </p:txBody>
      </p:sp>
      <p:sp>
        <p:nvSpPr>
          <p:cNvPr id="79" name="Textplatzhalter 78"/>
          <p:cNvSpPr>
            <a:spLocks noGrp="1"/>
          </p:cNvSpPr>
          <p:nvPr>
            <p:ph type="body" sz="quarter" idx="11"/>
          </p:nvPr>
        </p:nvSpPr>
        <p:spPr>
          <a:xfrm>
            <a:off x="273599" y="729162"/>
            <a:ext cx="1215127" cy="318924"/>
          </a:xfrm>
        </p:spPr>
        <p:txBody>
          <a:bodyPr/>
          <a:lstStyle/>
          <a:p>
            <a:r>
              <a:rPr lang="de-CH" err="1">
                <a:ea typeface="+mn-lt"/>
                <a:cs typeface="+mn-lt"/>
              </a:rPr>
              <a:t>Stay</a:t>
            </a:r>
            <a:r>
              <a:rPr lang="de-CH">
                <a:ea typeface="+mn-lt"/>
                <a:cs typeface="+mn-lt"/>
              </a:rPr>
              <a:t> </a:t>
            </a:r>
            <a:r>
              <a:rPr lang="de-CH" err="1">
                <a:ea typeface="+mn-lt"/>
                <a:cs typeface="+mn-lt"/>
              </a:rPr>
              <a:t>Tuned</a:t>
            </a:r>
            <a:r>
              <a:rPr lang="de-CH">
                <a:ea typeface="+mn-lt"/>
                <a:cs typeface="+mn-lt"/>
              </a:rPr>
              <a:t> 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6A20EF0-1EC0-473F-8145-0A026E7A2EFE}" type="datetime1">
              <a:rPr lang="de-CH" smtClean="0"/>
              <a:t>04.05.2021</a:t>
            </a:fld>
            <a:endParaRPr lang="de-CH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r>
              <a:rPr lang="de-CH"/>
              <a:t>| 3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 noProof="0"/>
              <a:t>Migros-Genossenschafts-Bund | MES – Migros Engineering Solutions | Master Power Point Vorlagen</a:t>
            </a:r>
          </a:p>
        </p:txBody>
      </p:sp>
    </p:spTree>
    <p:extLst>
      <p:ext uri="{BB962C8B-B14F-4D97-AF65-F5344CB8AC3E}">
        <p14:creationId xmlns:p14="http://schemas.microsoft.com/office/powerpoint/2010/main" val="2978036004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9E605C3-3CEA-41F1-B00F-3757B332DCDF}" type="datetime1">
              <a:rPr lang="de-CH" smtClean="0"/>
              <a:t>04.05.2021</a:t>
            </a:fld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r>
              <a:rPr lang="de-CH"/>
              <a:t>| 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 noProof="0"/>
              <a:t>Migros-Genossenschafts-Bund | MES – Migros Engineering Solutions | Master Power Point Vorlag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/>
        <p:txBody>
          <a:bodyPr>
            <a:spAutoFit/>
          </a:bodyPr>
          <a:lstStyle/>
          <a:p>
            <a:r>
              <a:rPr lang="de-CH"/>
              <a:t>Agenda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Timeline</a:t>
            </a:r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0814985"/>
              </p:ext>
            </p:extLst>
          </p:nvPr>
        </p:nvGraphicFramePr>
        <p:xfrm>
          <a:off x="273050" y="1620980"/>
          <a:ext cx="9359896" cy="4310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325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75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443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555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 gridSpan="4">
                  <a:txBody>
                    <a:bodyPr/>
                    <a:lstStyle/>
                    <a:p>
                      <a:pPr algn="r" eaLnBrk="1"/>
                      <a:endParaRPr lang="de-CH" sz="1600" b="0"/>
                    </a:p>
                  </a:txBody>
                  <a:tcPr marL="72000" marR="72000" marT="108000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CH" sz="1800" b="0"/>
                    </a:p>
                  </a:txBody>
                  <a:tcPr marL="72000" marR="72000" marT="108000" marB="108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de-CH" sz="1800" b="0"/>
                    </a:p>
                  </a:txBody>
                  <a:tcPr marL="72000" marR="72000" marT="108000" marB="108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r" eaLnBrk="1"/>
                      <a:endParaRPr lang="de-CH" sz="1600" b="0"/>
                    </a:p>
                  </a:txBody>
                  <a:tcPr marL="72000" marR="72000" marT="10800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eaLnBrk="1"/>
                      <a:endParaRPr lang="de-CH" sz="1800" b="0"/>
                    </a:p>
                  </a:txBody>
                  <a:tcPr marL="72000" marR="72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800" b="0"/>
                        <a:t>1</a:t>
                      </a:r>
                    </a:p>
                  </a:txBody>
                  <a:tcPr marL="72000" marR="72000" marT="108000" marB="108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CH" sz="1800" b="0" kern="1200" baseline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cap</a:t>
                      </a:r>
                      <a:r>
                        <a:rPr lang="de-CH" sz="18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CH" sz="8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de-CH" sz="800" b="0" kern="1200" baseline="0" err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108000" marB="108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eaLnBrk="1"/>
                      <a:endParaRPr lang="de-CH" sz="1600" b="0"/>
                    </a:p>
                  </a:txBody>
                  <a:tcPr marL="72000" marR="72000" marT="108000" marB="10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e-CH" sz="1800" b="0"/>
                    </a:p>
                  </a:txBody>
                  <a:tcPr marL="72000" marR="72000" marT="108000" marB="108000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tx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CH" sz="1800" b="0"/>
                        <a:t>2</a:t>
                      </a:r>
                    </a:p>
                  </a:txBody>
                  <a:tcPr marL="72000" marR="72000" marT="108000" marB="108000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tx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de-CH" sz="18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hadow DOM </a:t>
                      </a:r>
                      <a:r>
                        <a:rPr lang="de-CH" sz="8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</a:t>
                      </a:r>
                    </a:p>
                  </a:txBody>
                  <a:tcPr marL="72000" marR="72000" marT="108000" marB="108000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tx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endParaRPr lang="de-CH" sz="1600" b="0"/>
                    </a:p>
                  </a:txBody>
                  <a:tcPr marL="72000" marR="72000" marT="108000" marB="108000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>
                      <a:solidFill>
                        <a:schemeClr val="tx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42386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CH" sz="18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CH"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72000" marR="72000" marT="108000" marB="108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de-CH" sz="1800" b="0" kern="1200" baseline="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SS pseudo Klassen &amp; Variablen </a:t>
                      </a:r>
                      <a:r>
                        <a:rPr lang="de-CH" sz="800" b="0" kern="1200" baseline="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</a:t>
                      </a:r>
                      <a:endParaRPr lang="de-CH" sz="800" b="0" kern="1200" baseline="0" noProof="0" err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108000" marB="108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endParaRPr lang="de-CH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108000" marB="10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CH" sz="18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CH" sz="1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72000" marR="72000" marT="108000" marB="108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de-CH" sz="1800" b="0" kern="1200" baseline="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mplates &amp; Slots </a:t>
                      </a:r>
                      <a:r>
                        <a:rPr lang="de-CH" sz="800" b="0" kern="1200" baseline="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</a:t>
                      </a:r>
                      <a:endParaRPr lang="de-DE" sz="800" b="0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108000" marB="108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endParaRPr lang="de-CH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108000" marB="10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eaLnBrk="1"/>
                      <a:endParaRPr lang="de-CH" sz="1800" b="0"/>
                    </a:p>
                  </a:txBody>
                  <a:tcPr marL="72000" marR="72000" marT="108000" marB="108000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CH" sz="1800" b="0"/>
                        <a:t>5</a:t>
                      </a:r>
                      <a:endParaRPr lang="de-DE"/>
                    </a:p>
                  </a:txBody>
                  <a:tcPr marL="72000" marR="72000" marT="108000" marB="108000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CH" sz="1800" b="0" i="0" u="none" strike="noStrike" noProof="0">
                          <a:latin typeface="Arial"/>
                        </a:rPr>
                        <a:t>Lifecycle </a:t>
                      </a:r>
                      <a:r>
                        <a:rPr lang="de-CH" sz="1800" b="0" i="0" u="none" strike="noStrike" noProof="0" err="1">
                          <a:latin typeface="Arial"/>
                        </a:rPr>
                        <a:t>callbacks</a:t>
                      </a:r>
                      <a:r>
                        <a:rPr lang="de-CH" sz="800" b="0" i="0" u="none" strike="noStrike" noProof="0" err="1">
                          <a:latin typeface="Arial"/>
                        </a:rPr>
                        <a:t>v</a:t>
                      </a:r>
                      <a:endParaRPr lang="de-CH" sz="800" b="0" i="0" u="none" strike="noStrike" noProof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72000" marR="72000" marT="108000" marB="108000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e-CH" sz="1600" b="0"/>
                    </a:p>
                  </a:txBody>
                  <a:tcPr marL="72000" marR="72000" marT="108000" marB="108000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29953745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e-CH" sz="1800" b="0"/>
                    </a:p>
                  </a:txBody>
                  <a:tcPr marL="72000" marR="72000" marT="108000" marB="108000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CH" sz="1800" b="0"/>
                        <a:t>6</a:t>
                      </a:r>
                      <a:endParaRPr lang="de-DE"/>
                    </a:p>
                  </a:txBody>
                  <a:tcPr marL="72000" marR="72000" marT="108000" marB="108000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CH" sz="1800" b="0" i="0" u="none" strike="noStrike" noProof="0">
                          <a:latin typeface="Arial"/>
                        </a:rPr>
                        <a:t>Web Components &amp; JS Frameworks </a:t>
                      </a:r>
                      <a:r>
                        <a:rPr lang="de-CH" sz="800" b="0" i="0" u="none" strike="noStrike" noProof="0">
                          <a:latin typeface="Arial"/>
                        </a:rPr>
                        <a:t>m</a:t>
                      </a:r>
                      <a:endParaRPr lang="de-DE" sz="800"/>
                    </a:p>
                  </a:txBody>
                  <a:tcPr marL="72000" marR="72000" marT="108000" marB="108000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e-CH" sz="1600" b="0"/>
                    </a:p>
                  </a:txBody>
                  <a:tcPr marL="72000" marR="72000" marT="108000" marB="108000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9531724"/>
                  </a:ext>
                </a:extLst>
              </a:tr>
              <a:tr h="370838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e-CH" sz="1800" b="0"/>
                    </a:p>
                  </a:txBody>
                  <a:tcPr marL="72000" marR="72000" marT="108000" marB="108000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CH" sz="1800" b="0"/>
                        <a:t>7</a:t>
                      </a:r>
                    </a:p>
                  </a:txBody>
                  <a:tcPr marL="72000" marR="72000" marT="108000" marB="108000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CH" sz="1800" b="0" i="0" u="none" strike="noStrike" noProof="0">
                          <a:latin typeface="Arial"/>
                        </a:rPr>
                        <a:t>Q&amp;A</a:t>
                      </a:r>
                      <a:endParaRPr lang="de-DE"/>
                    </a:p>
                  </a:txBody>
                  <a:tcPr marL="72000" marR="72000" marT="108000" marB="108000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e-CH" sz="1600" b="0"/>
                    </a:p>
                  </a:txBody>
                  <a:tcPr marL="72000" marR="72000" marT="108000" marB="108000"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96409429"/>
                  </a:ext>
                </a:extLst>
              </a:tr>
              <a:tr h="370838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e-CH" sz="1800" b="0"/>
                    </a:p>
                  </a:txBody>
                  <a:tcPr marL="72000" marR="72000" marT="108000" marB="108000">
                    <a:lnL w="0">
                      <a:noFill/>
                    </a:lnL>
                    <a:lnR w="0">
                      <a:noFill/>
                    </a:lnR>
                    <a:lnT w="3174">
                      <a:solidFill>
                        <a:schemeClr val="tx2"/>
                      </a:solidFill>
                    </a:lnT>
                    <a:lnB w="3174">
                      <a:solidFill>
                        <a:schemeClr val="tx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CH" sz="1800" b="0"/>
                        <a:t>8</a:t>
                      </a:r>
                    </a:p>
                  </a:txBody>
                  <a:tcPr marL="72000" marR="72000" marT="108000" marB="108000">
                    <a:lnL w="0">
                      <a:noFill/>
                    </a:lnL>
                    <a:lnR w="0">
                      <a:noFill/>
                    </a:lnR>
                    <a:lnT w="3174">
                      <a:solidFill>
                        <a:schemeClr val="tx2"/>
                      </a:solidFill>
                    </a:lnT>
                    <a:lnB w="3174">
                      <a:solidFill>
                        <a:schemeClr val="tx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CH" sz="1800" b="0" i="0" u="none" strike="noStrike" noProof="0">
                          <a:latin typeface="Arial"/>
                        </a:rPr>
                        <a:t>Links</a:t>
                      </a:r>
                      <a:endParaRPr lang="de-DE"/>
                    </a:p>
                  </a:txBody>
                  <a:tcPr marL="72000" marR="72000" marT="108000" marB="108000">
                    <a:lnL w="0">
                      <a:noFill/>
                    </a:lnL>
                    <a:lnR w="0">
                      <a:noFill/>
                    </a:lnR>
                    <a:lnT w="3174">
                      <a:solidFill>
                        <a:schemeClr val="tx2"/>
                      </a:solidFill>
                    </a:lnT>
                    <a:lnB w="3174">
                      <a:solidFill>
                        <a:schemeClr val="tx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de-CH" sz="1600" b="0"/>
                    </a:p>
                  </a:txBody>
                  <a:tcPr marL="72000" marR="72000" marT="108000" marB="108000">
                    <a:lnL w="0">
                      <a:noFill/>
                    </a:lnL>
                    <a:lnR w="0">
                      <a:noFill/>
                    </a:lnR>
                    <a:lnT w="3174">
                      <a:solidFill>
                        <a:schemeClr val="tx2"/>
                      </a:solidFill>
                    </a:lnT>
                    <a:lnB w="3174">
                      <a:solidFill>
                        <a:schemeClr val="tx2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748921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5928287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itel 76"/>
          <p:cNvSpPr>
            <a:spLocks noGrp="1"/>
          </p:cNvSpPr>
          <p:nvPr>
            <p:ph type="title"/>
          </p:nvPr>
        </p:nvSpPr>
        <p:spPr>
          <a:xfrm>
            <a:off x="273601" y="259200"/>
            <a:ext cx="9357784" cy="432950"/>
          </a:xfrm>
        </p:spPr>
        <p:txBody>
          <a:bodyPr wrap="square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CH" err="1"/>
              <a:t>Recap</a:t>
            </a:r>
            <a:endParaRPr lang="de-DE" err="1"/>
          </a:p>
        </p:txBody>
      </p:sp>
      <p:sp>
        <p:nvSpPr>
          <p:cNvPr id="79" name="Textplatzhalter 78"/>
          <p:cNvSpPr>
            <a:spLocks noGrp="1"/>
          </p:cNvSpPr>
          <p:nvPr>
            <p:ph type="body" sz="quarter" idx="17"/>
          </p:nvPr>
        </p:nvSpPr>
        <p:spPr>
          <a:xfrm>
            <a:off x="273599" y="729162"/>
            <a:ext cx="2986233" cy="318924"/>
          </a:xfrm>
        </p:spPr>
        <p:txBody>
          <a:bodyPr vert="horz" wrap="none" lIns="72000" tIns="36000" rIns="72000" bIns="36000" rtlCol="0" anchor="t">
            <a:normAutofit/>
          </a:bodyPr>
          <a:lstStyle/>
          <a:p>
            <a:r>
              <a:rPr lang="de-CH"/>
              <a:t>Event Driven Web Components 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fld id="{26A20EF0-1EC0-473F-8145-0A026E7A2EFE}" type="datetime1">
              <a:rPr lang="de-CH" smtClean="0"/>
              <a:pPr>
                <a:spcAft>
                  <a:spcPts val="600"/>
                </a:spcAft>
              </a:pPr>
              <a:t>04.05.2021</a:t>
            </a:fld>
            <a:endParaRPr lang="de-CH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de-CH"/>
              <a:t>| 3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r>
              <a:rPr lang="de-CH" noProof="0"/>
              <a:t>Migros-Genossenschafts-Bund | MES – Migros Engineering Solutions | Master Power Point Vorlagen</a:t>
            </a:r>
          </a:p>
        </p:txBody>
      </p:sp>
      <p:sp>
        <p:nvSpPr>
          <p:cNvPr id="5" name="Inhaltsplatzhalter 77">
            <a:extLst>
              <a:ext uri="{FF2B5EF4-FFF2-40B4-BE49-F238E27FC236}">
                <a16:creationId xmlns:a16="http://schemas.microsoft.com/office/drawing/2014/main" id="{00832A0B-8F2C-4BE2-894B-6D63E5BF8F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3050" y="1128919"/>
            <a:ext cx="8335363" cy="1977592"/>
          </a:xfrm>
        </p:spPr>
        <p:txBody>
          <a:bodyPr vert="horz" lIns="0" tIns="36000" rIns="0" bIns="36000" rtlCol="0" anchor="t">
            <a:noAutofit/>
          </a:bodyPr>
          <a:lstStyle/>
          <a:p>
            <a:pPr>
              <a:lnSpc>
                <a:spcPct val="120000"/>
              </a:lnSpc>
              <a:spcAft>
                <a:spcPts val="0"/>
              </a:spcAft>
              <a:buFont typeface="Arial,Sans-Serif"/>
              <a:buChar char="•"/>
            </a:pPr>
            <a:r>
              <a:rPr lang="en-US" sz="1400" err="1"/>
              <a:t>CustomElements.define</a:t>
            </a:r>
            <a:r>
              <a:rPr lang="en-US" sz="1400"/>
              <a:t>()</a:t>
            </a:r>
          </a:p>
          <a:p>
            <a:pPr lvl="1">
              <a:lnSpc>
                <a:spcPct val="120000"/>
              </a:lnSpc>
              <a:spcAft>
                <a:spcPts val="0"/>
              </a:spcAft>
              <a:buFont typeface="Arial,Sans-Serif"/>
              <a:buChar char="•"/>
            </a:pPr>
            <a:endParaRPr lang="en-US" sz="1400">
              <a:ea typeface="+mn-lt"/>
              <a:cs typeface="+mn-lt"/>
            </a:endParaRPr>
          </a:p>
          <a:p>
            <a:pPr lvl="1">
              <a:lnSpc>
                <a:spcPct val="120000"/>
              </a:lnSpc>
              <a:spcAft>
                <a:spcPts val="0"/>
              </a:spcAft>
              <a:buFont typeface="Arial,Sans-Serif"/>
              <a:buChar char="•"/>
            </a:pPr>
            <a:r>
              <a:rPr lang="en-US" sz="1400">
                <a:ea typeface="+mn-lt"/>
                <a:cs typeface="+mn-lt"/>
              </a:rPr>
              <a:t>Event Driven Architecture</a:t>
            </a:r>
            <a:endParaRPr lang="en-US"/>
          </a:p>
          <a:p>
            <a:pPr lvl="1">
              <a:lnSpc>
                <a:spcPct val="120000"/>
              </a:lnSpc>
              <a:spcAft>
                <a:spcPts val="0"/>
              </a:spcAft>
              <a:buFont typeface="Arial,Sans-Serif"/>
              <a:buChar char="•"/>
            </a:pPr>
            <a:endParaRPr lang="en-US" sz="1400">
              <a:ea typeface="+mn-lt"/>
              <a:cs typeface="+mn-lt"/>
            </a:endParaRPr>
          </a:p>
          <a:p>
            <a:pPr lvl="1">
              <a:lnSpc>
                <a:spcPct val="120000"/>
              </a:lnSpc>
              <a:spcAft>
                <a:spcPts val="0"/>
              </a:spcAft>
              <a:buFont typeface="Arial,Sans-Serif"/>
              <a:buChar char="•"/>
            </a:pPr>
            <a:r>
              <a:rPr lang="en-US" sz="1400">
                <a:ea typeface="+mn-lt"/>
                <a:cs typeface="+mn-lt"/>
              </a:rPr>
              <a:t>Real World Example</a:t>
            </a:r>
          </a:p>
          <a:p>
            <a:pPr lvl="2">
              <a:lnSpc>
                <a:spcPct val="120000"/>
              </a:lnSpc>
              <a:spcAft>
                <a:spcPts val="0"/>
              </a:spcAft>
              <a:buFont typeface="Arial,Sans-Serif"/>
              <a:buChar char="•"/>
            </a:pPr>
            <a:r>
              <a:rPr lang="en-US" sz="1400">
                <a:ea typeface="+mn-lt"/>
                <a:cs typeface="+mn-lt"/>
                <a:hlinkClick r:id="rId2"/>
              </a:rPr>
              <a:t>https://mits-gossau.github.io/event-driven-web-components-realworld-example-app/</a:t>
            </a:r>
            <a:endParaRPr lang="en-US" sz="1400">
              <a:ea typeface="+mn-lt"/>
              <a:cs typeface="+mn-lt"/>
            </a:endParaRPr>
          </a:p>
          <a:p>
            <a:pPr lvl="2">
              <a:lnSpc>
                <a:spcPct val="120000"/>
              </a:lnSpc>
              <a:spcAft>
                <a:spcPts val="0"/>
              </a:spcAft>
              <a:buFont typeface="Arial,Sans-Serif"/>
              <a:buChar char="•"/>
            </a:pPr>
            <a:r>
              <a:rPr lang="en-US" sz="1400">
                <a:ea typeface="+mn-lt"/>
                <a:cs typeface="+mn-lt"/>
                <a:hlinkClick r:id="rId3"/>
              </a:rPr>
              <a:t>https://github.com/mits-gossau/event-driven-web-components-realworld-example-app</a:t>
            </a:r>
            <a:endParaRPr lang="en-US" sz="1400">
              <a:ea typeface="+mn-lt"/>
              <a:cs typeface="+mn-lt"/>
            </a:endParaRPr>
          </a:p>
          <a:p>
            <a:pPr lvl="1">
              <a:lnSpc>
                <a:spcPct val="120000"/>
              </a:lnSpc>
              <a:spcAft>
                <a:spcPts val="0"/>
              </a:spcAft>
              <a:buFont typeface="Arial,Sans-Serif"/>
              <a:buChar char="•"/>
            </a:pPr>
            <a:endParaRPr lang="en-US" sz="1400">
              <a:ea typeface="+mn-lt"/>
              <a:cs typeface="+mn-lt"/>
            </a:endParaRPr>
          </a:p>
          <a:p>
            <a:pPr>
              <a:buFont typeface="Arial"/>
              <a:buChar char="•"/>
            </a:pPr>
            <a:endParaRPr lang="de-CH" sz="1200">
              <a:ea typeface="+mn-lt"/>
              <a:cs typeface="+mn-lt"/>
            </a:endParaRPr>
          </a:p>
          <a:p>
            <a:pPr marL="0" indent="0">
              <a:spcAft>
                <a:spcPts val="0"/>
              </a:spcAft>
              <a:buNone/>
            </a:pPr>
            <a:endParaRPr lang="en-US" sz="1200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61403582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itel 76"/>
          <p:cNvSpPr>
            <a:spLocks noGrp="1"/>
          </p:cNvSpPr>
          <p:nvPr>
            <p:ph type="title"/>
          </p:nvPr>
        </p:nvSpPr>
        <p:spPr>
          <a:xfrm>
            <a:off x="273601" y="259200"/>
            <a:ext cx="9357784" cy="432950"/>
          </a:xfrm>
        </p:spPr>
        <p:txBody>
          <a:bodyPr wrap="square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CH"/>
              <a:t>Shadow DOM</a:t>
            </a:r>
            <a:endParaRPr lang="de-DE"/>
          </a:p>
        </p:txBody>
      </p:sp>
      <p:sp>
        <p:nvSpPr>
          <p:cNvPr id="78" name="Inhaltsplatzhalter 77"/>
          <p:cNvSpPr>
            <a:spLocks noGrp="1"/>
          </p:cNvSpPr>
          <p:nvPr>
            <p:ph type="body" sz="quarter" idx="14"/>
          </p:nvPr>
        </p:nvSpPr>
        <p:spPr>
          <a:xfrm>
            <a:off x="273050" y="1128919"/>
            <a:ext cx="8335363" cy="1747949"/>
          </a:xfrm>
        </p:spPr>
        <p:txBody>
          <a:bodyPr vert="horz" lIns="0" tIns="36000" rIns="0" bIns="36000" rtlCol="0" anchor="t">
            <a:noAutofit/>
          </a:bodyPr>
          <a:lstStyle/>
          <a:p>
            <a:pPr>
              <a:lnSpc>
                <a:spcPct val="120000"/>
              </a:lnSpc>
              <a:spcAft>
                <a:spcPts val="0"/>
              </a:spcAft>
              <a:buFont typeface="Arial,Sans-Serif"/>
              <a:buChar char="•"/>
            </a:pPr>
            <a:r>
              <a:rPr lang="en-US" sz="1400" err="1">
                <a:ea typeface="+mn-lt"/>
                <a:cs typeface="+mn-lt"/>
              </a:rPr>
              <a:t>Isolierter</a:t>
            </a:r>
            <a:r>
              <a:rPr lang="en-US" sz="1400">
                <a:ea typeface="+mn-lt"/>
                <a:cs typeface="+mn-lt"/>
              </a:rPr>
              <a:t> DOM Tree </a:t>
            </a:r>
            <a:endParaRPr lang="de-DE">
              <a:ea typeface="+mn-lt"/>
              <a:cs typeface="+mn-lt"/>
            </a:endParaRPr>
          </a:p>
          <a:p>
            <a:pPr>
              <a:lnSpc>
                <a:spcPct val="120000"/>
              </a:lnSpc>
              <a:spcAft>
                <a:spcPts val="0"/>
              </a:spcAft>
              <a:buFont typeface="Arial,Sans-Serif"/>
              <a:buChar char="•"/>
            </a:pPr>
            <a:endParaRPr lang="de-DE"/>
          </a:p>
          <a:p>
            <a:pPr>
              <a:lnSpc>
                <a:spcPct val="120000"/>
              </a:lnSpc>
              <a:spcAft>
                <a:spcPts val="0"/>
              </a:spcAft>
              <a:buFont typeface="Arial,Sans-Serif"/>
              <a:buChar char="•"/>
            </a:pPr>
            <a:r>
              <a:rPr lang="en-US" sz="1400">
                <a:ea typeface="+mn-lt"/>
                <a:cs typeface="+mn-lt"/>
              </a:rPr>
              <a:t>Scoped CSS</a:t>
            </a:r>
            <a:endParaRPr lang="en-US"/>
          </a:p>
          <a:p>
            <a:pPr lvl="1">
              <a:lnSpc>
                <a:spcPct val="120000"/>
              </a:lnSpc>
              <a:spcAft>
                <a:spcPts val="0"/>
              </a:spcAft>
              <a:buFont typeface="Arial,Sans-Serif"/>
              <a:buChar char="•"/>
            </a:pPr>
            <a:endParaRPr lang="en-US" sz="1400">
              <a:ea typeface="+mn-lt"/>
              <a:cs typeface="+mn-lt"/>
            </a:endParaRPr>
          </a:p>
          <a:p>
            <a:pPr>
              <a:buFont typeface="Arial"/>
              <a:buChar char="•"/>
            </a:pPr>
            <a:endParaRPr lang="de-CH" sz="1200">
              <a:ea typeface="+mn-lt"/>
              <a:cs typeface="+mn-lt"/>
            </a:endParaRPr>
          </a:p>
          <a:p>
            <a:pPr marL="0" indent="0">
              <a:spcAft>
                <a:spcPts val="0"/>
              </a:spcAft>
              <a:buNone/>
            </a:pPr>
            <a:endParaRPr lang="en-US" sz="1200">
              <a:ea typeface="+mn-lt"/>
              <a:cs typeface="+mn-lt"/>
            </a:endParaRPr>
          </a:p>
        </p:txBody>
      </p:sp>
      <p:sp>
        <p:nvSpPr>
          <p:cNvPr id="79" name="Textplatzhalter 78"/>
          <p:cNvSpPr>
            <a:spLocks noGrp="1"/>
          </p:cNvSpPr>
          <p:nvPr>
            <p:ph type="body" sz="quarter" idx="17"/>
          </p:nvPr>
        </p:nvSpPr>
        <p:spPr>
          <a:xfrm>
            <a:off x="273599" y="729162"/>
            <a:ext cx="1946466" cy="318924"/>
          </a:xfrm>
        </p:spPr>
        <p:txBody>
          <a:bodyPr wrap="none">
            <a:normAutofit/>
          </a:bodyPr>
          <a:lstStyle/>
          <a:p>
            <a:r>
              <a:rPr lang="de-CH"/>
              <a:t>Concept and </a:t>
            </a:r>
            <a:r>
              <a:rPr lang="de-CH" err="1"/>
              <a:t>Usage</a:t>
            </a:r>
            <a:endParaRPr lang="de-DE" err="1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fld id="{26A20EF0-1EC0-473F-8145-0A026E7A2EFE}" type="datetime1">
              <a:rPr lang="de-CH" smtClean="0"/>
              <a:pPr>
                <a:spcAft>
                  <a:spcPts val="600"/>
                </a:spcAft>
              </a:pPr>
              <a:t>04.05.2021</a:t>
            </a:fld>
            <a:endParaRPr lang="de-CH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de-CH"/>
              <a:t>| 3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r>
              <a:rPr lang="de-CH" noProof="0"/>
              <a:t>Migros-Genossenschafts-Bund | MES – Migros Engineering Solutions | Master Power Point Vorlagen</a:t>
            </a:r>
          </a:p>
        </p:txBody>
      </p:sp>
      <p:pic>
        <p:nvPicPr>
          <p:cNvPr id="5" name="Grafik 5" descr="Ein Bild, das Text enthält.&#10;&#10;Beschreibung automatisch generiert.">
            <a:extLst>
              <a:ext uri="{FF2B5EF4-FFF2-40B4-BE49-F238E27FC236}">
                <a16:creationId xmlns:a16="http://schemas.microsoft.com/office/drawing/2014/main" id="{6F0BB883-4923-4BD0-A8E1-EC9177B8A2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9855" y="1713366"/>
            <a:ext cx="6519904" cy="428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709109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itel 76"/>
          <p:cNvSpPr>
            <a:spLocks noGrp="1"/>
          </p:cNvSpPr>
          <p:nvPr>
            <p:ph type="title"/>
          </p:nvPr>
        </p:nvSpPr>
        <p:spPr>
          <a:xfrm>
            <a:off x="273601" y="259200"/>
            <a:ext cx="9357784" cy="432950"/>
          </a:xfrm>
        </p:spPr>
        <p:txBody>
          <a:bodyPr wrap="square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CH"/>
              <a:t>CSS pseudo </a:t>
            </a:r>
            <a:r>
              <a:rPr lang="de-CH" err="1"/>
              <a:t>klassen</a:t>
            </a:r>
            <a:r>
              <a:rPr lang="de-CH"/>
              <a:t> &amp; </a:t>
            </a:r>
            <a:r>
              <a:rPr lang="de-CH" err="1"/>
              <a:t>variabeln</a:t>
            </a:r>
            <a:endParaRPr lang="de-DE" err="1"/>
          </a:p>
        </p:txBody>
      </p:sp>
      <p:sp>
        <p:nvSpPr>
          <p:cNvPr id="78" name="Inhaltsplatzhalter 77"/>
          <p:cNvSpPr>
            <a:spLocks noGrp="1"/>
          </p:cNvSpPr>
          <p:nvPr>
            <p:ph type="body" sz="quarter" idx="14"/>
          </p:nvPr>
        </p:nvSpPr>
        <p:spPr>
          <a:xfrm>
            <a:off x="273050" y="1128919"/>
            <a:ext cx="8335363" cy="2212769"/>
          </a:xfrm>
        </p:spPr>
        <p:txBody>
          <a:bodyPr vert="horz" lIns="0" tIns="36000" rIns="0" bIns="36000" rtlCol="0" anchor="t">
            <a:noAutofit/>
          </a:bodyPr>
          <a:lstStyle/>
          <a:p>
            <a:pPr>
              <a:buFont typeface="Arial"/>
              <a:buChar char="•"/>
            </a:pPr>
            <a:r>
              <a:rPr lang="en-US" sz="1400">
                <a:ea typeface="+mn-lt"/>
                <a:cs typeface="+mn-lt"/>
              </a:rPr>
              <a:t>:defined: </a:t>
            </a:r>
            <a:endParaRPr lang="en-US" sz="1400"/>
          </a:p>
          <a:p>
            <a:pPr>
              <a:buFont typeface="Arial"/>
              <a:buChar char="•"/>
            </a:pPr>
            <a:endParaRPr lang="en-US"/>
          </a:p>
          <a:p>
            <a:pPr>
              <a:buFont typeface="Arial"/>
              <a:buChar char="•"/>
            </a:pPr>
            <a:r>
              <a:rPr lang="en-US" sz="1400">
                <a:ea typeface="+mn-lt"/>
                <a:cs typeface="+mn-lt"/>
              </a:rPr>
              <a:t>:host: </a:t>
            </a:r>
            <a:endParaRPr lang="en-US"/>
          </a:p>
          <a:p>
            <a:pPr>
              <a:buFont typeface="Arial"/>
              <a:buChar char="•"/>
            </a:pPr>
            <a:endParaRPr lang="en-US"/>
          </a:p>
          <a:p>
            <a:pPr>
              <a:buFont typeface="Arial"/>
              <a:buChar char="•"/>
            </a:pPr>
            <a:r>
              <a:rPr lang="en-US" sz="1400">
                <a:ea typeface="+mn-lt"/>
                <a:cs typeface="+mn-lt"/>
              </a:rPr>
              <a:t>:host(): </a:t>
            </a:r>
            <a:endParaRPr lang="en-US"/>
          </a:p>
          <a:p>
            <a:pPr>
              <a:buFont typeface="Arial"/>
              <a:buChar char="•"/>
            </a:pPr>
            <a:endParaRPr lang="en-US"/>
          </a:p>
          <a:p>
            <a:pPr>
              <a:buFont typeface="Arial"/>
              <a:buChar char="•"/>
            </a:pPr>
            <a:r>
              <a:rPr lang="en-US" sz="1400">
                <a:ea typeface="+mn-lt"/>
                <a:cs typeface="+mn-lt"/>
              </a:rPr>
              <a:t>:host-context():</a:t>
            </a:r>
            <a:endParaRPr lang="en-US"/>
          </a:p>
          <a:p>
            <a:pPr>
              <a:lnSpc>
                <a:spcPct val="120000"/>
              </a:lnSpc>
              <a:spcAft>
                <a:spcPts val="0"/>
              </a:spcAft>
              <a:buFont typeface="Arial,Sans-Serif"/>
              <a:buChar char="•"/>
            </a:pPr>
            <a:endParaRPr lang="en-US" sz="1400">
              <a:ea typeface="+mn-lt"/>
              <a:cs typeface="+mn-lt"/>
            </a:endParaRPr>
          </a:p>
          <a:p>
            <a:pPr lvl="1">
              <a:lnSpc>
                <a:spcPct val="120000"/>
              </a:lnSpc>
              <a:spcAft>
                <a:spcPts val="0"/>
              </a:spcAft>
              <a:buFont typeface="Arial,Sans-Serif"/>
              <a:buChar char="•"/>
            </a:pPr>
            <a:endParaRPr lang="en-US" sz="1400">
              <a:ea typeface="+mn-lt"/>
              <a:cs typeface="+mn-lt"/>
            </a:endParaRPr>
          </a:p>
          <a:p>
            <a:pPr>
              <a:buFont typeface="Arial"/>
              <a:buChar char="•"/>
            </a:pPr>
            <a:endParaRPr lang="de-CH" sz="1200">
              <a:ea typeface="+mn-lt"/>
              <a:cs typeface="+mn-lt"/>
            </a:endParaRPr>
          </a:p>
          <a:p>
            <a:pPr marL="0" indent="0">
              <a:spcAft>
                <a:spcPts val="0"/>
              </a:spcAft>
              <a:buNone/>
            </a:pPr>
            <a:endParaRPr lang="en-US" sz="1200">
              <a:ea typeface="+mn-lt"/>
              <a:cs typeface="+mn-lt"/>
            </a:endParaRPr>
          </a:p>
        </p:txBody>
      </p:sp>
      <p:sp>
        <p:nvSpPr>
          <p:cNvPr id="79" name="Textplatzhalter 78"/>
          <p:cNvSpPr>
            <a:spLocks noGrp="1"/>
          </p:cNvSpPr>
          <p:nvPr>
            <p:ph type="body" sz="quarter" idx="17"/>
          </p:nvPr>
        </p:nvSpPr>
        <p:spPr>
          <a:xfrm>
            <a:off x="273599" y="729162"/>
            <a:ext cx="1946466" cy="318924"/>
          </a:xfrm>
        </p:spPr>
        <p:txBody>
          <a:bodyPr wrap="none">
            <a:normAutofit/>
          </a:bodyPr>
          <a:lstStyle/>
          <a:p>
            <a:r>
              <a:rPr lang="de-CH"/>
              <a:t>Concept and </a:t>
            </a:r>
            <a:r>
              <a:rPr lang="de-CH" err="1"/>
              <a:t>Usage</a:t>
            </a:r>
            <a:endParaRPr lang="de-DE" err="1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fld id="{26A20EF0-1EC0-473F-8145-0A026E7A2EFE}" type="datetime1">
              <a:rPr lang="de-CH" smtClean="0"/>
              <a:pPr>
                <a:spcAft>
                  <a:spcPts val="600"/>
                </a:spcAft>
              </a:pPr>
              <a:t>04.05.2021</a:t>
            </a:fld>
            <a:endParaRPr lang="de-CH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de-CH"/>
              <a:t>| 3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r>
              <a:rPr lang="de-CH" noProof="0"/>
              <a:t>Migros-Genossenschafts-Bund | MES – Migros Engineering Solutions | Master Power Point Vorlagen</a:t>
            </a:r>
          </a:p>
        </p:txBody>
      </p:sp>
    </p:spTree>
    <p:extLst>
      <p:ext uri="{BB962C8B-B14F-4D97-AF65-F5344CB8AC3E}">
        <p14:creationId xmlns:p14="http://schemas.microsoft.com/office/powerpoint/2010/main" val="2562592226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itel 76"/>
          <p:cNvSpPr>
            <a:spLocks noGrp="1"/>
          </p:cNvSpPr>
          <p:nvPr>
            <p:ph type="title"/>
          </p:nvPr>
        </p:nvSpPr>
        <p:spPr>
          <a:xfrm>
            <a:off x="273601" y="259200"/>
            <a:ext cx="9357784" cy="432950"/>
          </a:xfrm>
        </p:spPr>
        <p:txBody>
          <a:bodyPr wrap="square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CH">
                <a:solidFill>
                  <a:srgbClr val="FFFFFF"/>
                </a:solidFill>
              </a:rPr>
              <a:t>Templates</a:t>
            </a:r>
            <a:endParaRPr lang="de-DE">
              <a:solidFill>
                <a:srgbClr val="FFFFFF"/>
              </a:solidFill>
            </a:endParaRPr>
          </a:p>
        </p:txBody>
      </p:sp>
      <p:sp>
        <p:nvSpPr>
          <p:cNvPr id="78" name="Inhaltsplatzhalter 77"/>
          <p:cNvSpPr>
            <a:spLocks noGrp="1"/>
          </p:cNvSpPr>
          <p:nvPr>
            <p:ph type="body" sz="quarter" idx="14"/>
          </p:nvPr>
        </p:nvSpPr>
        <p:spPr>
          <a:xfrm>
            <a:off x="273050" y="1128920"/>
            <a:ext cx="8335363" cy="1561894"/>
          </a:xfrm>
        </p:spPr>
        <p:txBody>
          <a:bodyPr vert="horz" lIns="0" tIns="36000" rIns="0" bIns="36000" rtlCol="0" anchor="t">
            <a:noAutofit/>
          </a:bodyPr>
          <a:lstStyle/>
          <a:p>
            <a:r>
              <a:rPr lang="en-US" sz="1400">
                <a:ea typeface="+mn-lt"/>
                <a:cs typeface="+mn-lt"/>
              </a:rPr>
              <a:t>HTML Content Template element </a:t>
            </a:r>
            <a:r>
              <a:rPr lang="en-US" sz="1400" b="1">
                <a:ea typeface="+mn-lt"/>
                <a:cs typeface="+mn-lt"/>
              </a:rPr>
              <a:t>&lt;template&gt;</a:t>
            </a:r>
          </a:p>
          <a:p>
            <a:r>
              <a:rPr lang="de-CH" sz="1400">
                <a:ea typeface="+mn-lt"/>
                <a:cs typeface="+mn-lt"/>
              </a:rPr>
              <a:t>ermöglicht </a:t>
            </a:r>
            <a:r>
              <a:rPr lang="de-CH" sz="1400" b="1">
                <a:ea typeface="+mn-lt"/>
                <a:cs typeface="+mn-lt"/>
              </a:rPr>
              <a:t>Markup Strukturen versteckt zu speichern </a:t>
            </a:r>
            <a:r>
              <a:rPr lang="de-CH" sz="1400">
                <a:ea typeface="+mn-lt"/>
                <a:cs typeface="+mn-lt"/>
              </a:rPr>
              <a:t>und </a:t>
            </a:r>
            <a:r>
              <a:rPr lang="de-CH" sz="1400" b="1">
                <a:ea typeface="+mn-lt"/>
                <a:cs typeface="+mn-lt"/>
              </a:rPr>
              <a:t>wiederzuverwenden</a:t>
            </a:r>
          </a:p>
          <a:p>
            <a:r>
              <a:rPr lang="de-CH" sz="1400">
                <a:ea typeface="+mn-lt"/>
                <a:cs typeface="+mn-lt"/>
              </a:rPr>
              <a:t>Markup in Templates erscheint beim Laden der Seite nicht im DOM, sondern erst wenn eine Referenz des Templates mit JS im DOM hinzugefügt wird </a:t>
            </a:r>
          </a:p>
          <a:p>
            <a:r>
              <a:rPr lang="de-CH" sz="1400">
                <a:ea typeface="+mn-lt"/>
                <a:cs typeface="+mn-lt"/>
              </a:rPr>
              <a:t>Templates können an verschiedenen Stellen eingefügt werden (z.B. </a:t>
            </a:r>
            <a:r>
              <a:rPr lang="de-CH" sz="1400" err="1">
                <a:ea typeface="+mn-lt"/>
                <a:cs typeface="+mn-lt"/>
              </a:rPr>
              <a:t>head</a:t>
            </a:r>
            <a:r>
              <a:rPr lang="de-CH" sz="1400">
                <a:ea typeface="+mn-lt"/>
                <a:cs typeface="+mn-lt"/>
              </a:rPr>
              <a:t>, </a:t>
            </a:r>
            <a:r>
              <a:rPr lang="de-CH" sz="1400" err="1">
                <a:ea typeface="+mn-lt"/>
                <a:cs typeface="+mn-lt"/>
              </a:rPr>
              <a:t>body</a:t>
            </a:r>
            <a:r>
              <a:rPr lang="de-CH" sz="1400">
                <a:ea typeface="+mn-lt"/>
                <a:cs typeface="+mn-lt"/>
              </a:rPr>
              <a:t>) - auch im Shadow DOM</a:t>
            </a:r>
            <a:endParaRPr lang="en-US" sz="1400">
              <a:ea typeface="+mn-lt"/>
              <a:cs typeface="+mn-lt"/>
            </a:endParaRPr>
          </a:p>
        </p:txBody>
      </p:sp>
      <p:sp>
        <p:nvSpPr>
          <p:cNvPr id="79" name="Textplatzhalter 78"/>
          <p:cNvSpPr>
            <a:spLocks noGrp="1"/>
          </p:cNvSpPr>
          <p:nvPr>
            <p:ph type="body" sz="quarter" idx="17"/>
          </p:nvPr>
        </p:nvSpPr>
        <p:spPr>
          <a:xfrm>
            <a:off x="273599" y="729162"/>
            <a:ext cx="1946466" cy="318924"/>
          </a:xfrm>
        </p:spPr>
        <p:txBody>
          <a:bodyPr wrap="none">
            <a:normAutofit/>
          </a:bodyPr>
          <a:lstStyle/>
          <a:p>
            <a:r>
              <a:rPr lang="de-CH"/>
              <a:t>Concept and </a:t>
            </a:r>
            <a:r>
              <a:rPr lang="de-CH" err="1"/>
              <a:t>Usage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fld id="{26A20EF0-1EC0-473F-8145-0A026E7A2EFE}" type="datetime1">
              <a:rPr lang="de-CH" smtClean="0"/>
              <a:pPr>
                <a:spcAft>
                  <a:spcPts val="600"/>
                </a:spcAft>
              </a:pPr>
              <a:t>04.05.2021</a:t>
            </a:fld>
            <a:endParaRPr lang="de-CH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de-CH"/>
              <a:t>| 3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r>
              <a:rPr lang="de-CH" noProof="0"/>
              <a:t>Migros-Genossenschafts-Bund | MES – Migros Engineering Solutions | Master Power Point Vorlagen</a:t>
            </a:r>
          </a:p>
        </p:txBody>
      </p:sp>
      <p:pic>
        <p:nvPicPr>
          <p:cNvPr id="6" name="Grafik 5" descr="Ein Bild, das Text enthält.&#10;&#10;Automatisch generierte Beschreibung">
            <a:extLst>
              <a:ext uri="{FF2B5EF4-FFF2-40B4-BE49-F238E27FC236}">
                <a16:creationId xmlns:a16="http://schemas.microsoft.com/office/drawing/2014/main" id="{CBA0F298-3F69-4CFA-935C-6B46EE570D1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53" y="3149287"/>
            <a:ext cx="5513548" cy="2385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75206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itel 76"/>
          <p:cNvSpPr>
            <a:spLocks noGrp="1"/>
          </p:cNvSpPr>
          <p:nvPr>
            <p:ph type="title"/>
          </p:nvPr>
        </p:nvSpPr>
        <p:spPr>
          <a:xfrm>
            <a:off x="273601" y="259200"/>
            <a:ext cx="9357784" cy="432950"/>
          </a:xfrm>
        </p:spPr>
        <p:txBody>
          <a:bodyPr wrap="square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CH">
                <a:solidFill>
                  <a:srgbClr val="FFFFFF"/>
                </a:solidFill>
              </a:rPr>
              <a:t>Slots</a:t>
            </a:r>
            <a:endParaRPr lang="de-DE">
              <a:solidFill>
                <a:srgbClr val="FFFFFF"/>
              </a:solidFill>
            </a:endParaRPr>
          </a:p>
        </p:txBody>
      </p:sp>
      <p:sp>
        <p:nvSpPr>
          <p:cNvPr id="78" name="Inhaltsplatzhalter 77"/>
          <p:cNvSpPr>
            <a:spLocks noGrp="1"/>
          </p:cNvSpPr>
          <p:nvPr>
            <p:ph type="body" sz="quarter" idx="14"/>
          </p:nvPr>
        </p:nvSpPr>
        <p:spPr>
          <a:xfrm>
            <a:off x="273050" y="1128919"/>
            <a:ext cx="8335363" cy="1342927"/>
          </a:xfrm>
        </p:spPr>
        <p:txBody>
          <a:bodyPr vert="horz" lIns="0" tIns="36000" rIns="0" bIns="36000" rtlCol="0" anchor="t">
            <a:noAutofit/>
          </a:bodyPr>
          <a:lstStyle/>
          <a:p>
            <a:pPr>
              <a:buFont typeface="Arial"/>
              <a:buChar char="•"/>
            </a:pPr>
            <a:r>
              <a:rPr lang="en-US" sz="1400" b="1" err="1">
                <a:ea typeface="+mn-lt"/>
                <a:cs typeface="+mn-lt"/>
              </a:rPr>
              <a:t>Platzhalter</a:t>
            </a:r>
            <a:r>
              <a:rPr lang="en-US" sz="1400" b="1">
                <a:ea typeface="+mn-lt"/>
                <a:cs typeface="+mn-lt"/>
              </a:rPr>
              <a:t> </a:t>
            </a:r>
            <a:r>
              <a:rPr lang="en-US" sz="1400" b="1" err="1">
                <a:ea typeface="+mn-lt"/>
                <a:cs typeface="+mn-lt"/>
              </a:rPr>
              <a:t>für</a:t>
            </a:r>
            <a:r>
              <a:rPr lang="en-US" sz="1400" b="1">
                <a:ea typeface="+mn-lt"/>
                <a:cs typeface="+mn-lt"/>
              </a:rPr>
              <a:t> Markup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innerhalb</a:t>
            </a:r>
            <a:r>
              <a:rPr lang="en-US" sz="1400">
                <a:ea typeface="+mn-lt"/>
                <a:cs typeface="+mn-lt"/>
              </a:rPr>
              <a:t> des Shadow DOMs </a:t>
            </a:r>
            <a:r>
              <a:rPr lang="en-US" sz="1400" err="1">
                <a:ea typeface="+mn-lt"/>
                <a:cs typeface="+mn-lt"/>
              </a:rPr>
              <a:t>einer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WebComponent</a:t>
            </a:r>
            <a:endParaRPr lang="en-US" sz="1400">
              <a:ea typeface="+mn-lt"/>
              <a:cs typeface="+mn-lt"/>
            </a:endParaRPr>
          </a:p>
          <a:p>
            <a:pPr>
              <a:buFont typeface="Arial"/>
              <a:buChar char="•"/>
            </a:pPr>
            <a:r>
              <a:rPr lang="en-US" sz="1400" err="1">
                <a:ea typeface="+mn-lt"/>
                <a:cs typeface="+mn-lt"/>
              </a:rPr>
              <a:t>bringen</a:t>
            </a:r>
            <a:r>
              <a:rPr lang="en-US" sz="1400">
                <a:ea typeface="+mn-lt"/>
                <a:cs typeface="+mn-lt"/>
              </a:rPr>
              <a:t> so </a:t>
            </a:r>
            <a:r>
              <a:rPr lang="en-US" sz="1400" b="1" err="1">
                <a:ea typeface="+mn-lt"/>
                <a:cs typeface="+mn-lt"/>
              </a:rPr>
              <a:t>Flexibilität</a:t>
            </a:r>
            <a:r>
              <a:rPr lang="en-US" sz="1400">
                <a:ea typeface="+mn-lt"/>
                <a:cs typeface="+mn-lt"/>
              </a:rPr>
              <a:t>, um Markup von </a:t>
            </a:r>
            <a:r>
              <a:rPr lang="en-US" sz="1400" err="1">
                <a:ea typeface="+mn-lt"/>
                <a:cs typeface="+mn-lt"/>
              </a:rPr>
              <a:t>außerhalb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einzufügen</a:t>
            </a:r>
            <a:endParaRPr lang="en-US" sz="1400">
              <a:ea typeface="+mn-lt"/>
              <a:cs typeface="+mn-lt"/>
            </a:endParaRPr>
          </a:p>
          <a:p>
            <a:pPr>
              <a:buFont typeface="Arial"/>
              <a:buChar char="•"/>
            </a:pPr>
            <a:r>
              <a:rPr lang="en-US" sz="1400">
                <a:ea typeface="+mn-lt"/>
                <a:cs typeface="+mn-lt"/>
              </a:rPr>
              <a:t>Slots </a:t>
            </a:r>
            <a:r>
              <a:rPr lang="en-US" sz="1400" b="1" err="1">
                <a:ea typeface="+mn-lt"/>
                <a:cs typeface="+mn-lt"/>
              </a:rPr>
              <a:t>referenzieren</a:t>
            </a:r>
            <a:r>
              <a:rPr lang="en-US" sz="1400">
                <a:ea typeface="+mn-lt"/>
                <a:cs typeface="+mn-lt"/>
              </a:rPr>
              <a:t> das </a:t>
            </a:r>
            <a:r>
              <a:rPr lang="en-US" sz="1400" err="1">
                <a:ea typeface="+mn-lt"/>
                <a:cs typeface="+mn-lt"/>
              </a:rPr>
              <a:t>eingefügte</a:t>
            </a:r>
            <a:r>
              <a:rPr lang="en-US" sz="1400">
                <a:ea typeface="+mn-lt"/>
                <a:cs typeface="+mn-lt"/>
              </a:rPr>
              <a:t> Markup (</a:t>
            </a:r>
            <a:r>
              <a:rPr lang="en-US" sz="1400" err="1">
                <a:ea typeface="+mn-lt"/>
                <a:cs typeface="+mn-lt"/>
              </a:rPr>
              <a:t>werden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nicht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dorthin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verschoben</a:t>
            </a:r>
            <a:r>
              <a:rPr lang="en-US" sz="1400">
                <a:ea typeface="+mn-lt"/>
                <a:cs typeface="+mn-lt"/>
              </a:rPr>
              <a:t>)</a:t>
            </a:r>
          </a:p>
          <a:p>
            <a:pPr>
              <a:buFont typeface="Arial"/>
              <a:buChar char="•"/>
            </a:pPr>
            <a:r>
              <a:rPr lang="en-US" sz="1400" err="1">
                <a:ea typeface="+mn-lt"/>
                <a:cs typeface="+mn-lt"/>
              </a:rPr>
              <a:t>Verwendung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mit</a:t>
            </a:r>
            <a:r>
              <a:rPr lang="en-US" sz="1400">
                <a:ea typeface="+mn-lt"/>
                <a:cs typeface="+mn-lt"/>
              </a:rPr>
              <a:t> Templates </a:t>
            </a:r>
            <a:r>
              <a:rPr lang="en-US" sz="1400" err="1">
                <a:ea typeface="+mn-lt"/>
                <a:cs typeface="+mn-lt"/>
              </a:rPr>
              <a:t>ist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ebenfalls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möglich</a:t>
            </a:r>
            <a:endParaRPr lang="en-US" sz="1400">
              <a:ea typeface="+mn-lt"/>
              <a:cs typeface="+mn-lt"/>
            </a:endParaRPr>
          </a:p>
          <a:p>
            <a:pPr>
              <a:buFont typeface="Arial"/>
              <a:buChar char="•"/>
            </a:pPr>
            <a:endParaRPr lang="en-US" sz="1400">
              <a:ea typeface="+mn-lt"/>
              <a:cs typeface="+mn-lt"/>
            </a:endParaRPr>
          </a:p>
        </p:txBody>
      </p:sp>
      <p:sp>
        <p:nvSpPr>
          <p:cNvPr id="79" name="Textplatzhalter 78"/>
          <p:cNvSpPr>
            <a:spLocks noGrp="1"/>
          </p:cNvSpPr>
          <p:nvPr>
            <p:ph type="body" sz="quarter" idx="17"/>
          </p:nvPr>
        </p:nvSpPr>
        <p:spPr>
          <a:xfrm>
            <a:off x="273599" y="729162"/>
            <a:ext cx="1946466" cy="318924"/>
          </a:xfrm>
        </p:spPr>
        <p:txBody>
          <a:bodyPr wrap="none">
            <a:normAutofit/>
          </a:bodyPr>
          <a:lstStyle/>
          <a:p>
            <a:r>
              <a:rPr lang="de-CH"/>
              <a:t>Concept and </a:t>
            </a:r>
            <a:r>
              <a:rPr lang="de-CH" err="1"/>
              <a:t>Usage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fld id="{26A20EF0-1EC0-473F-8145-0A026E7A2EFE}" type="datetime1">
              <a:rPr lang="de-CH" smtClean="0"/>
              <a:pPr>
                <a:spcAft>
                  <a:spcPts val="600"/>
                </a:spcAft>
              </a:pPr>
              <a:t>04.05.2021</a:t>
            </a:fld>
            <a:endParaRPr lang="de-CH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de-CH"/>
              <a:t>| 3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r>
              <a:rPr lang="de-CH" noProof="0"/>
              <a:t>Migros-Genossenschafts-Bund | MES – Migros Engineering Solutions | Master Power Point Vorlagen</a:t>
            </a:r>
          </a:p>
        </p:txBody>
      </p:sp>
      <p:pic>
        <p:nvPicPr>
          <p:cNvPr id="6" name="Grafik 5" descr="Ein Bild, das Text enthält.&#10;&#10;Automatisch generierte Beschreibung">
            <a:extLst>
              <a:ext uri="{FF2B5EF4-FFF2-40B4-BE49-F238E27FC236}">
                <a16:creationId xmlns:a16="http://schemas.microsoft.com/office/drawing/2014/main" id="{10CCC3BA-8F42-4070-94D4-0F46DC9F1B9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246" y="2782652"/>
            <a:ext cx="4256139" cy="2312870"/>
          </a:xfrm>
          <a:prstGeom prst="rect">
            <a:avLst/>
          </a:prstGeom>
        </p:spPr>
      </p:pic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4E53F8F2-FABC-4990-B309-6D01C97026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050" y="2782653"/>
            <a:ext cx="4391314" cy="1486512"/>
          </a:xfrm>
          <a:prstGeom prst="rect">
            <a:avLst/>
          </a:prstGeom>
        </p:spPr>
      </p:pic>
      <p:sp>
        <p:nvSpPr>
          <p:cNvPr id="12" name="Inhaltsplatzhalter 77">
            <a:extLst>
              <a:ext uri="{FF2B5EF4-FFF2-40B4-BE49-F238E27FC236}">
                <a16:creationId xmlns:a16="http://schemas.microsoft.com/office/drawing/2014/main" id="{9CEF4FBF-30F6-450A-8123-337C6EB4308C}"/>
              </a:ext>
            </a:extLst>
          </p:cNvPr>
          <p:cNvSpPr txBox="1">
            <a:spLocks/>
          </p:cNvSpPr>
          <p:nvPr/>
        </p:nvSpPr>
        <p:spPr>
          <a:xfrm>
            <a:off x="273050" y="2471846"/>
            <a:ext cx="2350077" cy="298098"/>
          </a:xfrm>
          <a:prstGeom prst="rect">
            <a:avLst/>
          </a:prstGeom>
        </p:spPr>
        <p:txBody>
          <a:bodyPr vert="horz" lIns="0" tIns="36000" rIns="0" bIns="36000" rtlCol="0" anchor="t">
            <a:noAutofit/>
          </a:bodyPr>
          <a:lstStyle>
            <a:lvl1pPr marL="180975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358775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 Unicode MS" panose="020B0604020202020204" pitchFamily="34" charset="-128"/>
              <a:buChar char="ｰ"/>
              <a:defRPr sz="1600">
                <a:solidFill>
                  <a:schemeClr val="tx1"/>
                </a:solidFill>
                <a:latin typeface="+mn-lt"/>
              </a:defRPr>
            </a:lvl3pPr>
            <a:lvl4pPr marL="536575" indent="-1778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 Unicode MS" panose="020B0604020202020204" pitchFamily="34" charset="-128"/>
              <a:buChar char="-"/>
              <a:defRPr sz="1600">
                <a:solidFill>
                  <a:schemeClr val="tx1"/>
                </a:solidFill>
                <a:latin typeface="+mn-lt"/>
              </a:defRPr>
            </a:lvl4pPr>
            <a:lvl5pPr marL="717550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lang="de-CH" sz="1600">
                <a:solidFill>
                  <a:schemeClr val="tx1"/>
                </a:solidFill>
                <a:latin typeface="+mn-lt"/>
              </a:defRPr>
            </a:lvl5pPr>
            <a:lvl6pPr marL="26749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31321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35893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40465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400" b="1" kern="0" err="1">
                <a:ea typeface="+mn-lt"/>
                <a:cs typeface="+mn-lt"/>
              </a:rPr>
              <a:t>Platzhalter</a:t>
            </a:r>
            <a:r>
              <a:rPr lang="en-US" sz="1400" b="1" kern="0">
                <a:ea typeface="+mn-lt"/>
                <a:cs typeface="+mn-lt"/>
              </a:rPr>
              <a:t> in Shadow DOM</a:t>
            </a:r>
          </a:p>
        </p:txBody>
      </p:sp>
      <p:sp>
        <p:nvSpPr>
          <p:cNvPr id="13" name="Inhaltsplatzhalter 77">
            <a:extLst>
              <a:ext uri="{FF2B5EF4-FFF2-40B4-BE49-F238E27FC236}">
                <a16:creationId xmlns:a16="http://schemas.microsoft.com/office/drawing/2014/main" id="{FB82E601-F632-406B-97EA-99C9FE3E262A}"/>
              </a:ext>
            </a:extLst>
          </p:cNvPr>
          <p:cNvSpPr txBox="1">
            <a:spLocks/>
          </p:cNvSpPr>
          <p:nvPr/>
        </p:nvSpPr>
        <p:spPr>
          <a:xfrm>
            <a:off x="5375246" y="2471846"/>
            <a:ext cx="2207809" cy="298098"/>
          </a:xfrm>
          <a:prstGeom prst="rect">
            <a:avLst/>
          </a:prstGeom>
        </p:spPr>
        <p:txBody>
          <a:bodyPr vert="horz" lIns="0" tIns="36000" rIns="0" bIns="36000" rtlCol="0" anchor="t">
            <a:noAutofit/>
          </a:bodyPr>
          <a:lstStyle>
            <a:lvl1pPr marL="180975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358775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 Unicode MS" panose="020B0604020202020204" pitchFamily="34" charset="-128"/>
              <a:buChar char="ｰ"/>
              <a:defRPr sz="1600">
                <a:solidFill>
                  <a:schemeClr val="tx1"/>
                </a:solidFill>
                <a:latin typeface="+mn-lt"/>
              </a:defRPr>
            </a:lvl3pPr>
            <a:lvl4pPr marL="536575" indent="-1778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 Unicode MS" panose="020B0604020202020204" pitchFamily="34" charset="-128"/>
              <a:buChar char="-"/>
              <a:defRPr sz="1600">
                <a:solidFill>
                  <a:schemeClr val="tx1"/>
                </a:solidFill>
                <a:latin typeface="+mn-lt"/>
              </a:defRPr>
            </a:lvl4pPr>
            <a:lvl5pPr marL="717550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lang="de-CH" sz="1600">
                <a:solidFill>
                  <a:schemeClr val="tx1"/>
                </a:solidFill>
                <a:latin typeface="+mn-lt"/>
              </a:defRPr>
            </a:lvl5pPr>
            <a:lvl6pPr marL="26749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31321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35893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40465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400" b="1" kern="0" err="1">
                <a:ea typeface="+mn-lt"/>
                <a:cs typeface="+mn-lt"/>
              </a:rPr>
              <a:t>Anwendung</a:t>
            </a:r>
            <a:r>
              <a:rPr lang="en-US" sz="1400" b="1" kern="0">
                <a:ea typeface="+mn-lt"/>
                <a:cs typeface="+mn-lt"/>
              </a:rPr>
              <a:t> in Light DOM</a:t>
            </a:r>
          </a:p>
        </p:txBody>
      </p:sp>
      <p:sp>
        <p:nvSpPr>
          <p:cNvPr id="14" name="Inhaltsplatzhalter 77">
            <a:extLst>
              <a:ext uri="{FF2B5EF4-FFF2-40B4-BE49-F238E27FC236}">
                <a16:creationId xmlns:a16="http://schemas.microsoft.com/office/drawing/2014/main" id="{1510546B-B53A-411A-AB3E-42EAE9E339D4}"/>
              </a:ext>
            </a:extLst>
          </p:cNvPr>
          <p:cNvSpPr txBox="1">
            <a:spLocks/>
          </p:cNvSpPr>
          <p:nvPr/>
        </p:nvSpPr>
        <p:spPr>
          <a:xfrm>
            <a:off x="212770" y="4761683"/>
            <a:ext cx="8335363" cy="2212769"/>
          </a:xfrm>
          <a:prstGeom prst="rect">
            <a:avLst/>
          </a:prstGeom>
        </p:spPr>
        <p:txBody>
          <a:bodyPr vert="horz" lIns="0" tIns="36000" rIns="0" bIns="36000" rtlCol="0" anchor="t">
            <a:noAutofit/>
          </a:bodyPr>
          <a:lstStyle>
            <a:lvl1pPr marL="180975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358775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 Unicode MS" panose="020B0604020202020204" pitchFamily="34" charset="-128"/>
              <a:buChar char="ｰ"/>
              <a:defRPr sz="1600">
                <a:solidFill>
                  <a:schemeClr val="tx1"/>
                </a:solidFill>
                <a:latin typeface="+mn-lt"/>
              </a:defRPr>
            </a:lvl3pPr>
            <a:lvl4pPr marL="536575" indent="-1778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 Unicode MS" panose="020B0604020202020204" pitchFamily="34" charset="-128"/>
              <a:buChar char="-"/>
              <a:defRPr sz="1600">
                <a:solidFill>
                  <a:schemeClr val="tx1"/>
                </a:solidFill>
                <a:latin typeface="+mn-lt"/>
              </a:defRPr>
            </a:lvl4pPr>
            <a:lvl5pPr marL="717550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lang="de-CH" sz="1600">
                <a:solidFill>
                  <a:schemeClr val="tx1"/>
                </a:solidFill>
                <a:latin typeface="+mn-lt"/>
              </a:defRPr>
            </a:lvl5pPr>
            <a:lvl6pPr marL="26749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31321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35893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40465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/>
              <a:buChar char="•"/>
            </a:pPr>
            <a:endParaRPr lang="en-US" sz="1400" kern="0">
              <a:ea typeface="+mn-lt"/>
              <a:cs typeface="+mn-lt"/>
            </a:endParaRPr>
          </a:p>
        </p:txBody>
      </p:sp>
      <p:sp>
        <p:nvSpPr>
          <p:cNvPr id="15" name="Inhaltsplatzhalter 77">
            <a:extLst>
              <a:ext uri="{FF2B5EF4-FFF2-40B4-BE49-F238E27FC236}">
                <a16:creationId xmlns:a16="http://schemas.microsoft.com/office/drawing/2014/main" id="{63276BFD-DC8C-49CB-BDC8-A3D863DF9B75}"/>
              </a:ext>
            </a:extLst>
          </p:cNvPr>
          <p:cNvSpPr txBox="1">
            <a:spLocks/>
          </p:cNvSpPr>
          <p:nvPr/>
        </p:nvSpPr>
        <p:spPr>
          <a:xfrm>
            <a:off x="279575" y="4395970"/>
            <a:ext cx="4740230" cy="2087571"/>
          </a:xfrm>
          <a:prstGeom prst="rect">
            <a:avLst/>
          </a:prstGeom>
        </p:spPr>
        <p:txBody>
          <a:bodyPr vert="horz" lIns="0" tIns="36000" rIns="0" bIns="36000" rtlCol="0" anchor="t">
            <a:noAutofit/>
          </a:bodyPr>
          <a:lstStyle>
            <a:lvl1pPr marL="180975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358775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 Unicode MS" panose="020B0604020202020204" pitchFamily="34" charset="-128"/>
              <a:buChar char="ｰ"/>
              <a:defRPr sz="1600">
                <a:solidFill>
                  <a:schemeClr val="tx1"/>
                </a:solidFill>
                <a:latin typeface="+mn-lt"/>
              </a:defRPr>
            </a:lvl3pPr>
            <a:lvl4pPr marL="536575" indent="-1778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 Unicode MS" panose="020B0604020202020204" pitchFamily="34" charset="-128"/>
              <a:buChar char="-"/>
              <a:defRPr sz="1600">
                <a:solidFill>
                  <a:schemeClr val="tx1"/>
                </a:solidFill>
                <a:latin typeface="+mn-lt"/>
              </a:defRPr>
            </a:lvl4pPr>
            <a:lvl5pPr marL="717550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lang="de-CH" sz="1600">
                <a:solidFill>
                  <a:schemeClr val="tx1"/>
                </a:solidFill>
                <a:latin typeface="+mn-lt"/>
              </a:defRPr>
            </a:lvl5pPr>
            <a:lvl6pPr marL="26749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31321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35893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40465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400" b="1" kern="0">
                <a:ea typeface="+mn-lt"/>
                <a:cs typeface="+mn-lt"/>
              </a:rPr>
              <a:t>CSS </a:t>
            </a:r>
            <a:r>
              <a:rPr lang="en-US" sz="1400" kern="0">
                <a:ea typeface="+mn-lt"/>
                <a:cs typeface="+mn-lt"/>
              </a:rPr>
              <a:t>::slotted(first-level-elements)</a:t>
            </a:r>
          </a:p>
          <a:p>
            <a:pPr marL="0" indent="0">
              <a:buNone/>
            </a:pPr>
            <a:endParaRPr lang="en-US" sz="1400" b="1" kern="0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sz="1400" b="1" kern="0">
                <a:ea typeface="+mn-lt"/>
                <a:cs typeface="+mn-lt"/>
              </a:rPr>
              <a:t>JS Shadow DOM API Utilities</a:t>
            </a:r>
          </a:p>
          <a:p>
            <a:r>
              <a:rPr lang="en-US" sz="1400" kern="0">
                <a:ea typeface="+mn-lt"/>
                <a:cs typeface="+mn-lt"/>
              </a:rPr>
              <a:t>mySlot.name</a:t>
            </a:r>
          </a:p>
          <a:p>
            <a:r>
              <a:rPr lang="en-US" sz="1400" kern="0" err="1">
                <a:ea typeface="+mn-lt"/>
                <a:cs typeface="+mn-lt"/>
              </a:rPr>
              <a:t>myElement.assignedSlot</a:t>
            </a:r>
            <a:endParaRPr lang="en-US" sz="1400" kern="0">
              <a:ea typeface="+mn-lt"/>
              <a:cs typeface="+mn-lt"/>
            </a:endParaRPr>
          </a:p>
          <a:p>
            <a:r>
              <a:rPr lang="en-US" sz="1400" kern="0" err="1">
                <a:ea typeface="+mn-lt"/>
                <a:cs typeface="+mn-lt"/>
              </a:rPr>
              <a:t>mySlot.slotchange</a:t>
            </a:r>
            <a:r>
              <a:rPr lang="en-US" sz="1400" kern="0">
                <a:ea typeface="+mn-lt"/>
                <a:cs typeface="+mn-lt"/>
              </a:rPr>
              <a:t>(event)</a:t>
            </a:r>
          </a:p>
          <a:p>
            <a:r>
              <a:rPr lang="en-US" sz="1400" kern="0" err="1">
                <a:ea typeface="+mn-lt"/>
                <a:cs typeface="+mn-lt"/>
              </a:rPr>
              <a:t>mySlot.assignedNodes</a:t>
            </a:r>
            <a:r>
              <a:rPr lang="en-US" sz="1400" kern="0">
                <a:ea typeface="+mn-lt"/>
                <a:cs typeface="+mn-lt"/>
              </a:rPr>
              <a:t>(), </a:t>
            </a:r>
            <a:r>
              <a:rPr lang="en-US" sz="1400" kern="0" err="1">
                <a:ea typeface="+mn-lt"/>
                <a:cs typeface="+mn-lt"/>
              </a:rPr>
              <a:t>mySlot.assignedElements</a:t>
            </a:r>
            <a:r>
              <a:rPr lang="en-US" sz="1400" kern="0">
                <a:ea typeface="+mn-lt"/>
                <a:cs typeface="+mn-lt"/>
              </a:rPr>
              <a:t>()</a:t>
            </a:r>
          </a:p>
          <a:p>
            <a:endParaRPr lang="en-US" sz="1400" kern="0">
              <a:ea typeface="+mn-lt"/>
              <a:cs typeface="+mn-lt"/>
            </a:endParaRPr>
          </a:p>
          <a:p>
            <a:pPr marL="0" indent="0">
              <a:buNone/>
            </a:pPr>
            <a:endParaRPr lang="en-US" sz="1400" b="1" kern="0">
              <a:ea typeface="+mn-lt"/>
              <a:cs typeface="+mn-lt"/>
            </a:endParaRPr>
          </a:p>
          <a:p>
            <a:pPr marL="0" indent="0">
              <a:buNone/>
            </a:pPr>
            <a:endParaRPr lang="en-US" sz="1400" kern="0">
              <a:ea typeface="+mn-lt"/>
              <a:cs typeface="+mn-lt"/>
            </a:endParaRPr>
          </a:p>
        </p:txBody>
      </p:sp>
      <p:sp>
        <p:nvSpPr>
          <p:cNvPr id="16" name="Inhaltsplatzhalter 77">
            <a:extLst>
              <a:ext uri="{FF2B5EF4-FFF2-40B4-BE49-F238E27FC236}">
                <a16:creationId xmlns:a16="http://schemas.microsoft.com/office/drawing/2014/main" id="{9DCF5C56-2726-4A16-A87A-06AB3CC85257}"/>
              </a:ext>
            </a:extLst>
          </p:cNvPr>
          <p:cNvSpPr txBox="1">
            <a:spLocks/>
          </p:cNvSpPr>
          <p:nvPr/>
        </p:nvSpPr>
        <p:spPr>
          <a:xfrm>
            <a:off x="5375246" y="5221538"/>
            <a:ext cx="4258274" cy="1319842"/>
          </a:xfrm>
          <a:prstGeom prst="rect">
            <a:avLst/>
          </a:prstGeom>
        </p:spPr>
        <p:txBody>
          <a:bodyPr vert="horz" lIns="0" tIns="36000" rIns="0" bIns="36000" rtlCol="0" anchor="t">
            <a:noAutofit/>
          </a:bodyPr>
          <a:lstStyle>
            <a:lvl1pPr marL="180975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358775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 Unicode MS" panose="020B0604020202020204" pitchFamily="34" charset="-128"/>
              <a:buChar char="ｰ"/>
              <a:defRPr sz="1600">
                <a:solidFill>
                  <a:schemeClr val="tx1"/>
                </a:solidFill>
                <a:latin typeface="+mn-lt"/>
              </a:defRPr>
            </a:lvl3pPr>
            <a:lvl4pPr marL="536575" indent="-1778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 Unicode MS" panose="020B0604020202020204" pitchFamily="34" charset="-128"/>
              <a:buChar char="-"/>
              <a:defRPr sz="1600">
                <a:solidFill>
                  <a:schemeClr val="tx1"/>
                </a:solidFill>
                <a:latin typeface="+mn-lt"/>
              </a:defRPr>
            </a:lvl4pPr>
            <a:lvl5pPr marL="717550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lang="de-CH" sz="1600">
                <a:solidFill>
                  <a:schemeClr val="tx1"/>
                </a:solidFill>
                <a:latin typeface="+mn-lt"/>
              </a:defRPr>
            </a:lvl5pPr>
            <a:lvl6pPr marL="26749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31321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35893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40465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400" b="1" kern="0">
                <a:ea typeface="+mn-lt"/>
                <a:cs typeface="+mn-lt"/>
              </a:rPr>
              <a:t>CSS: </a:t>
            </a:r>
          </a:p>
          <a:p>
            <a:r>
              <a:rPr lang="en-US" sz="1400" kern="0" err="1">
                <a:ea typeface="+mn-lt"/>
                <a:cs typeface="+mn-lt"/>
              </a:rPr>
              <a:t>globaler</a:t>
            </a:r>
            <a:r>
              <a:rPr lang="en-US" sz="1400" kern="0">
                <a:ea typeface="+mn-lt"/>
                <a:cs typeface="+mn-lt"/>
              </a:rPr>
              <a:t> </a:t>
            </a:r>
            <a:r>
              <a:rPr lang="en-US" sz="1400" kern="0" err="1">
                <a:ea typeface="+mn-lt"/>
                <a:cs typeface="+mn-lt"/>
              </a:rPr>
              <a:t>Zugriff</a:t>
            </a:r>
            <a:endParaRPr lang="en-US" sz="1400" kern="0">
              <a:ea typeface="+mn-lt"/>
              <a:cs typeface="+mn-lt"/>
            </a:endParaRPr>
          </a:p>
          <a:p>
            <a:r>
              <a:rPr lang="en-US" sz="1400" kern="0" err="1">
                <a:ea typeface="+mn-lt"/>
                <a:cs typeface="+mn-lt"/>
              </a:rPr>
              <a:t>auch</a:t>
            </a:r>
            <a:r>
              <a:rPr lang="en-US" sz="1400" kern="0">
                <a:ea typeface="+mn-lt"/>
                <a:cs typeface="+mn-lt"/>
              </a:rPr>
              <a:t> </a:t>
            </a:r>
            <a:r>
              <a:rPr lang="en-US" sz="1400" kern="0" err="1">
                <a:ea typeface="+mn-lt"/>
                <a:cs typeface="+mn-lt"/>
              </a:rPr>
              <a:t>über</a:t>
            </a:r>
            <a:r>
              <a:rPr lang="en-US" sz="1400" kern="0">
                <a:ea typeface="+mn-lt"/>
                <a:cs typeface="+mn-lt"/>
              </a:rPr>
              <a:t> </a:t>
            </a:r>
            <a:r>
              <a:rPr lang="en-US" sz="1400" kern="0" err="1">
                <a:ea typeface="+mn-lt"/>
                <a:cs typeface="+mn-lt"/>
              </a:rPr>
              <a:t>Tagname</a:t>
            </a:r>
            <a:r>
              <a:rPr lang="en-US" sz="1400" kern="0">
                <a:ea typeface="+mn-lt"/>
                <a:cs typeface="+mn-lt"/>
              </a:rPr>
              <a:t> des Custom Elements </a:t>
            </a:r>
            <a:br>
              <a:rPr lang="en-US" sz="1400" kern="0">
                <a:ea typeface="+mn-lt"/>
                <a:cs typeface="+mn-lt"/>
              </a:rPr>
            </a:br>
            <a:r>
              <a:rPr lang="en-US" sz="1400" kern="0">
                <a:ea typeface="+mn-lt"/>
                <a:cs typeface="+mn-lt"/>
              </a:rPr>
              <a:t>(</a:t>
            </a:r>
            <a:r>
              <a:rPr lang="en-US" sz="1400" kern="0" err="1">
                <a:ea typeface="+mn-lt"/>
                <a:cs typeface="+mn-lt"/>
              </a:rPr>
              <a:t>z.B.</a:t>
            </a:r>
            <a:r>
              <a:rPr lang="en-US" sz="1400" kern="0">
                <a:ea typeface="+mn-lt"/>
                <a:cs typeface="+mn-lt"/>
              </a:rPr>
              <a:t> slot-element)</a:t>
            </a:r>
          </a:p>
        </p:txBody>
      </p:sp>
    </p:spTree>
    <p:extLst>
      <p:ext uri="{BB962C8B-B14F-4D97-AF65-F5344CB8AC3E}">
        <p14:creationId xmlns:p14="http://schemas.microsoft.com/office/powerpoint/2010/main" val="1752067986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itel 76"/>
          <p:cNvSpPr>
            <a:spLocks noGrp="1"/>
          </p:cNvSpPr>
          <p:nvPr>
            <p:ph type="title"/>
          </p:nvPr>
        </p:nvSpPr>
        <p:spPr>
          <a:xfrm>
            <a:off x="273601" y="259200"/>
            <a:ext cx="9357784" cy="432950"/>
          </a:xfrm>
        </p:spPr>
        <p:txBody>
          <a:bodyPr wrap="square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CH">
                <a:solidFill>
                  <a:srgbClr val="FFFFFF"/>
                </a:solidFill>
              </a:rPr>
              <a:t>Slots</a:t>
            </a:r>
            <a:endParaRPr lang="de-DE">
              <a:solidFill>
                <a:srgbClr val="FFFFFF"/>
              </a:solidFill>
            </a:endParaRPr>
          </a:p>
        </p:txBody>
      </p:sp>
      <p:sp>
        <p:nvSpPr>
          <p:cNvPr id="78" name="Inhaltsplatzhalter 77"/>
          <p:cNvSpPr>
            <a:spLocks noGrp="1"/>
          </p:cNvSpPr>
          <p:nvPr>
            <p:ph type="body" sz="quarter" idx="14"/>
          </p:nvPr>
        </p:nvSpPr>
        <p:spPr>
          <a:xfrm>
            <a:off x="273050" y="1128919"/>
            <a:ext cx="8335363" cy="1342927"/>
          </a:xfrm>
        </p:spPr>
        <p:txBody>
          <a:bodyPr vert="horz" lIns="0" tIns="36000" rIns="0" bIns="36000" rtlCol="0" anchor="t">
            <a:noAutofit/>
          </a:bodyPr>
          <a:lstStyle/>
          <a:p>
            <a:pPr>
              <a:buFont typeface="Arial"/>
              <a:buChar char="•"/>
            </a:pPr>
            <a:r>
              <a:rPr lang="en-US" sz="1400" b="1" err="1">
                <a:ea typeface="+mn-lt"/>
                <a:cs typeface="+mn-lt"/>
              </a:rPr>
              <a:t>Platzhalter</a:t>
            </a:r>
            <a:r>
              <a:rPr lang="en-US" sz="1400" b="1">
                <a:ea typeface="+mn-lt"/>
                <a:cs typeface="+mn-lt"/>
              </a:rPr>
              <a:t> </a:t>
            </a:r>
            <a:r>
              <a:rPr lang="en-US" sz="1400" b="1" err="1">
                <a:ea typeface="+mn-lt"/>
                <a:cs typeface="+mn-lt"/>
              </a:rPr>
              <a:t>für</a:t>
            </a:r>
            <a:r>
              <a:rPr lang="en-US" sz="1400" b="1">
                <a:ea typeface="+mn-lt"/>
                <a:cs typeface="+mn-lt"/>
              </a:rPr>
              <a:t> Markup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innerhalb</a:t>
            </a:r>
            <a:r>
              <a:rPr lang="en-US" sz="1400">
                <a:ea typeface="+mn-lt"/>
                <a:cs typeface="+mn-lt"/>
              </a:rPr>
              <a:t> des Shadow DOMs </a:t>
            </a:r>
            <a:r>
              <a:rPr lang="en-US" sz="1400" err="1">
                <a:ea typeface="+mn-lt"/>
                <a:cs typeface="+mn-lt"/>
              </a:rPr>
              <a:t>einer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WebComponent</a:t>
            </a:r>
            <a:endParaRPr lang="en-US" sz="1400">
              <a:ea typeface="+mn-lt"/>
              <a:cs typeface="+mn-lt"/>
            </a:endParaRPr>
          </a:p>
          <a:p>
            <a:pPr>
              <a:buFont typeface="Arial"/>
              <a:buChar char="•"/>
            </a:pPr>
            <a:r>
              <a:rPr lang="en-US" sz="1400" err="1">
                <a:ea typeface="+mn-lt"/>
                <a:cs typeface="+mn-lt"/>
              </a:rPr>
              <a:t>bringen</a:t>
            </a:r>
            <a:r>
              <a:rPr lang="en-US" sz="1400">
                <a:ea typeface="+mn-lt"/>
                <a:cs typeface="+mn-lt"/>
              </a:rPr>
              <a:t> so </a:t>
            </a:r>
            <a:r>
              <a:rPr lang="en-US" sz="1400" b="1" err="1">
                <a:ea typeface="+mn-lt"/>
                <a:cs typeface="+mn-lt"/>
              </a:rPr>
              <a:t>Flexibilität</a:t>
            </a:r>
            <a:r>
              <a:rPr lang="en-US" sz="1400">
                <a:ea typeface="+mn-lt"/>
                <a:cs typeface="+mn-lt"/>
              </a:rPr>
              <a:t>, um Markup von </a:t>
            </a:r>
            <a:r>
              <a:rPr lang="en-US" sz="1400" err="1">
                <a:ea typeface="+mn-lt"/>
                <a:cs typeface="+mn-lt"/>
              </a:rPr>
              <a:t>außerhalb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einzufügen</a:t>
            </a:r>
            <a:endParaRPr lang="en-US" sz="1400">
              <a:ea typeface="+mn-lt"/>
              <a:cs typeface="+mn-lt"/>
            </a:endParaRPr>
          </a:p>
          <a:p>
            <a:pPr>
              <a:buFont typeface="Arial"/>
              <a:buChar char="•"/>
            </a:pPr>
            <a:r>
              <a:rPr lang="en-US" sz="1400">
                <a:ea typeface="+mn-lt"/>
                <a:cs typeface="+mn-lt"/>
              </a:rPr>
              <a:t>Slots </a:t>
            </a:r>
            <a:r>
              <a:rPr lang="en-US" sz="1400" b="1" err="1">
                <a:ea typeface="+mn-lt"/>
                <a:cs typeface="+mn-lt"/>
              </a:rPr>
              <a:t>referenzieren</a:t>
            </a:r>
            <a:r>
              <a:rPr lang="en-US" sz="1400">
                <a:ea typeface="+mn-lt"/>
                <a:cs typeface="+mn-lt"/>
              </a:rPr>
              <a:t> das </a:t>
            </a:r>
            <a:r>
              <a:rPr lang="en-US" sz="1400" err="1">
                <a:ea typeface="+mn-lt"/>
                <a:cs typeface="+mn-lt"/>
              </a:rPr>
              <a:t>eingefügte</a:t>
            </a:r>
            <a:r>
              <a:rPr lang="en-US" sz="1400">
                <a:ea typeface="+mn-lt"/>
                <a:cs typeface="+mn-lt"/>
              </a:rPr>
              <a:t> Markup (</a:t>
            </a:r>
            <a:r>
              <a:rPr lang="en-US" sz="1400" err="1">
                <a:ea typeface="+mn-lt"/>
                <a:cs typeface="+mn-lt"/>
              </a:rPr>
              <a:t>werden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nicht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dorthin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verschoben</a:t>
            </a:r>
            <a:r>
              <a:rPr lang="en-US" sz="1400">
                <a:ea typeface="+mn-lt"/>
                <a:cs typeface="+mn-lt"/>
              </a:rPr>
              <a:t>)</a:t>
            </a:r>
          </a:p>
          <a:p>
            <a:pPr>
              <a:buFont typeface="Arial"/>
              <a:buChar char="•"/>
            </a:pPr>
            <a:r>
              <a:rPr lang="en-US" sz="1400" err="1">
                <a:ea typeface="+mn-lt"/>
                <a:cs typeface="+mn-lt"/>
              </a:rPr>
              <a:t>Verwendung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mit</a:t>
            </a:r>
            <a:r>
              <a:rPr lang="en-US" sz="1400">
                <a:ea typeface="+mn-lt"/>
                <a:cs typeface="+mn-lt"/>
              </a:rPr>
              <a:t> Templates </a:t>
            </a:r>
            <a:r>
              <a:rPr lang="en-US" sz="1400" err="1">
                <a:ea typeface="+mn-lt"/>
                <a:cs typeface="+mn-lt"/>
              </a:rPr>
              <a:t>ist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ebenfalls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möglich</a:t>
            </a:r>
            <a:endParaRPr lang="en-US" sz="1400">
              <a:ea typeface="+mn-lt"/>
              <a:cs typeface="+mn-lt"/>
            </a:endParaRPr>
          </a:p>
          <a:p>
            <a:pPr>
              <a:buFont typeface="Arial"/>
              <a:buChar char="•"/>
            </a:pPr>
            <a:endParaRPr lang="en-US" sz="1400">
              <a:ea typeface="+mn-lt"/>
              <a:cs typeface="+mn-lt"/>
            </a:endParaRPr>
          </a:p>
        </p:txBody>
      </p:sp>
      <p:sp>
        <p:nvSpPr>
          <p:cNvPr id="79" name="Textplatzhalter 78"/>
          <p:cNvSpPr>
            <a:spLocks noGrp="1"/>
          </p:cNvSpPr>
          <p:nvPr>
            <p:ph type="body" sz="quarter" idx="17"/>
          </p:nvPr>
        </p:nvSpPr>
        <p:spPr>
          <a:xfrm>
            <a:off x="273599" y="729162"/>
            <a:ext cx="1946466" cy="318924"/>
          </a:xfrm>
        </p:spPr>
        <p:txBody>
          <a:bodyPr wrap="none">
            <a:normAutofit/>
          </a:bodyPr>
          <a:lstStyle/>
          <a:p>
            <a:r>
              <a:rPr lang="de-CH"/>
              <a:t>Concept and </a:t>
            </a:r>
            <a:r>
              <a:rPr lang="de-CH" err="1"/>
              <a:t>Usage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fld id="{26A20EF0-1EC0-473F-8145-0A026E7A2EFE}" type="datetime1">
              <a:rPr lang="de-CH" smtClean="0"/>
              <a:pPr>
                <a:spcAft>
                  <a:spcPts val="600"/>
                </a:spcAft>
              </a:pPr>
              <a:t>04.05.2021</a:t>
            </a:fld>
            <a:endParaRPr lang="de-CH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de-CH"/>
              <a:t>| 3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r>
              <a:rPr lang="de-CH" noProof="0"/>
              <a:t>Migros-Genossenschafts-Bund | MES – Migros Engineering Solutions | Master Power Point Vorlagen</a:t>
            </a:r>
          </a:p>
        </p:txBody>
      </p:sp>
      <p:pic>
        <p:nvPicPr>
          <p:cNvPr id="6" name="Grafik 5" descr="Ein Bild, das Text enthält.&#10;&#10;Automatisch generierte Beschreibung">
            <a:extLst>
              <a:ext uri="{FF2B5EF4-FFF2-40B4-BE49-F238E27FC236}">
                <a16:creationId xmlns:a16="http://schemas.microsoft.com/office/drawing/2014/main" id="{10CCC3BA-8F42-4070-94D4-0F46DC9F1B9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7319" y="3096943"/>
            <a:ext cx="4240019" cy="2304110"/>
          </a:xfrm>
          <a:prstGeom prst="rect">
            <a:avLst/>
          </a:prstGeom>
        </p:spPr>
      </p:pic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4E53F8F2-FABC-4990-B309-6D01C97026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050" y="3096944"/>
            <a:ext cx="4391314" cy="1486512"/>
          </a:xfrm>
          <a:prstGeom prst="rect">
            <a:avLst/>
          </a:prstGeom>
        </p:spPr>
      </p:pic>
      <p:sp>
        <p:nvSpPr>
          <p:cNvPr id="12" name="Inhaltsplatzhalter 77">
            <a:extLst>
              <a:ext uri="{FF2B5EF4-FFF2-40B4-BE49-F238E27FC236}">
                <a16:creationId xmlns:a16="http://schemas.microsoft.com/office/drawing/2014/main" id="{9CEF4FBF-30F6-450A-8123-337C6EB4308C}"/>
              </a:ext>
            </a:extLst>
          </p:cNvPr>
          <p:cNvSpPr txBox="1">
            <a:spLocks/>
          </p:cNvSpPr>
          <p:nvPr/>
        </p:nvSpPr>
        <p:spPr>
          <a:xfrm>
            <a:off x="273050" y="2786137"/>
            <a:ext cx="2350077" cy="298098"/>
          </a:xfrm>
          <a:prstGeom prst="rect">
            <a:avLst/>
          </a:prstGeom>
        </p:spPr>
        <p:txBody>
          <a:bodyPr vert="horz" lIns="0" tIns="36000" rIns="0" bIns="36000" rtlCol="0" anchor="t">
            <a:noAutofit/>
          </a:bodyPr>
          <a:lstStyle>
            <a:lvl1pPr marL="180975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358775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 Unicode MS" panose="020B0604020202020204" pitchFamily="34" charset="-128"/>
              <a:buChar char="ｰ"/>
              <a:defRPr sz="1600">
                <a:solidFill>
                  <a:schemeClr val="tx1"/>
                </a:solidFill>
                <a:latin typeface="+mn-lt"/>
              </a:defRPr>
            </a:lvl3pPr>
            <a:lvl4pPr marL="536575" indent="-1778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 Unicode MS" panose="020B0604020202020204" pitchFamily="34" charset="-128"/>
              <a:buChar char="-"/>
              <a:defRPr sz="1600">
                <a:solidFill>
                  <a:schemeClr val="tx1"/>
                </a:solidFill>
                <a:latin typeface="+mn-lt"/>
              </a:defRPr>
            </a:lvl4pPr>
            <a:lvl5pPr marL="717550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lang="de-CH" sz="1600">
                <a:solidFill>
                  <a:schemeClr val="tx1"/>
                </a:solidFill>
                <a:latin typeface="+mn-lt"/>
              </a:defRPr>
            </a:lvl5pPr>
            <a:lvl6pPr marL="26749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31321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35893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40465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400" b="1" kern="0" err="1">
                <a:ea typeface="+mn-lt"/>
                <a:cs typeface="+mn-lt"/>
              </a:rPr>
              <a:t>Platzhalter</a:t>
            </a:r>
            <a:r>
              <a:rPr lang="en-US" sz="1400" b="1" kern="0">
                <a:ea typeface="+mn-lt"/>
                <a:cs typeface="+mn-lt"/>
              </a:rPr>
              <a:t> in Shadow DOM</a:t>
            </a:r>
          </a:p>
        </p:txBody>
      </p:sp>
      <p:sp>
        <p:nvSpPr>
          <p:cNvPr id="13" name="Inhaltsplatzhalter 77">
            <a:extLst>
              <a:ext uri="{FF2B5EF4-FFF2-40B4-BE49-F238E27FC236}">
                <a16:creationId xmlns:a16="http://schemas.microsoft.com/office/drawing/2014/main" id="{FB82E601-F632-406B-97EA-99C9FE3E262A}"/>
              </a:ext>
            </a:extLst>
          </p:cNvPr>
          <p:cNvSpPr txBox="1">
            <a:spLocks/>
          </p:cNvSpPr>
          <p:nvPr/>
        </p:nvSpPr>
        <p:spPr>
          <a:xfrm>
            <a:off x="5117319" y="2786137"/>
            <a:ext cx="2191689" cy="298098"/>
          </a:xfrm>
          <a:prstGeom prst="rect">
            <a:avLst/>
          </a:prstGeom>
        </p:spPr>
        <p:txBody>
          <a:bodyPr vert="horz" lIns="0" tIns="36000" rIns="0" bIns="36000" rtlCol="0" anchor="t">
            <a:noAutofit/>
          </a:bodyPr>
          <a:lstStyle>
            <a:lvl1pPr marL="180975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358775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 Unicode MS" panose="020B0604020202020204" pitchFamily="34" charset="-128"/>
              <a:buChar char="ｰ"/>
              <a:defRPr sz="1600">
                <a:solidFill>
                  <a:schemeClr val="tx1"/>
                </a:solidFill>
                <a:latin typeface="+mn-lt"/>
              </a:defRPr>
            </a:lvl3pPr>
            <a:lvl4pPr marL="536575" indent="-1778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 Unicode MS" panose="020B0604020202020204" pitchFamily="34" charset="-128"/>
              <a:buChar char="-"/>
              <a:defRPr sz="1600">
                <a:solidFill>
                  <a:schemeClr val="tx1"/>
                </a:solidFill>
                <a:latin typeface="+mn-lt"/>
              </a:defRPr>
            </a:lvl4pPr>
            <a:lvl5pPr marL="717550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lang="de-CH" sz="1600">
                <a:solidFill>
                  <a:schemeClr val="tx1"/>
                </a:solidFill>
                <a:latin typeface="+mn-lt"/>
              </a:defRPr>
            </a:lvl5pPr>
            <a:lvl6pPr marL="26749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31321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35893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40465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400" b="1" kern="0" err="1">
                <a:ea typeface="+mn-lt"/>
                <a:cs typeface="+mn-lt"/>
              </a:rPr>
              <a:t>Anwendung</a:t>
            </a:r>
            <a:r>
              <a:rPr lang="en-US" sz="1400" b="1" kern="0">
                <a:ea typeface="+mn-lt"/>
                <a:cs typeface="+mn-lt"/>
              </a:rPr>
              <a:t> in Light DOM</a:t>
            </a:r>
          </a:p>
        </p:txBody>
      </p:sp>
      <p:sp>
        <p:nvSpPr>
          <p:cNvPr id="14" name="Inhaltsplatzhalter 77">
            <a:extLst>
              <a:ext uri="{FF2B5EF4-FFF2-40B4-BE49-F238E27FC236}">
                <a16:creationId xmlns:a16="http://schemas.microsoft.com/office/drawing/2014/main" id="{1510546B-B53A-411A-AB3E-42EAE9E339D4}"/>
              </a:ext>
            </a:extLst>
          </p:cNvPr>
          <p:cNvSpPr txBox="1">
            <a:spLocks/>
          </p:cNvSpPr>
          <p:nvPr/>
        </p:nvSpPr>
        <p:spPr>
          <a:xfrm>
            <a:off x="212770" y="4761683"/>
            <a:ext cx="8335363" cy="2212769"/>
          </a:xfrm>
          <a:prstGeom prst="rect">
            <a:avLst/>
          </a:prstGeom>
        </p:spPr>
        <p:txBody>
          <a:bodyPr vert="horz" lIns="0" tIns="36000" rIns="0" bIns="36000" rtlCol="0" anchor="t">
            <a:noAutofit/>
          </a:bodyPr>
          <a:lstStyle>
            <a:lvl1pPr marL="180975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358775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 Unicode MS" panose="020B0604020202020204" pitchFamily="34" charset="-128"/>
              <a:buChar char="ｰ"/>
              <a:defRPr sz="1600">
                <a:solidFill>
                  <a:schemeClr val="tx1"/>
                </a:solidFill>
                <a:latin typeface="+mn-lt"/>
              </a:defRPr>
            </a:lvl3pPr>
            <a:lvl4pPr marL="536575" indent="-1778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 Unicode MS" panose="020B0604020202020204" pitchFamily="34" charset="-128"/>
              <a:buChar char="-"/>
              <a:defRPr sz="1600">
                <a:solidFill>
                  <a:schemeClr val="tx1"/>
                </a:solidFill>
                <a:latin typeface="+mn-lt"/>
              </a:defRPr>
            </a:lvl4pPr>
            <a:lvl5pPr marL="717550" indent="-1809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lang="de-CH" sz="1600">
                <a:solidFill>
                  <a:schemeClr val="tx1"/>
                </a:solidFill>
                <a:latin typeface="+mn-lt"/>
              </a:defRPr>
            </a:lvl5pPr>
            <a:lvl6pPr marL="26749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31321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35893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4046538" indent="-201613"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40000"/>
              </a:spcAft>
              <a:buClr>
                <a:schemeClr val="tx2"/>
              </a:buClr>
              <a:buFont typeface="Times" pitchFamily="18" charset="0"/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/>
              <a:buChar char="•"/>
            </a:pPr>
            <a:endParaRPr lang="en-US" sz="1400" kern="0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11480972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itel 76"/>
          <p:cNvSpPr>
            <a:spLocks noGrp="1"/>
          </p:cNvSpPr>
          <p:nvPr>
            <p:ph type="title"/>
          </p:nvPr>
        </p:nvSpPr>
        <p:spPr>
          <a:xfrm>
            <a:off x="273601" y="259200"/>
            <a:ext cx="9357784" cy="432950"/>
          </a:xfrm>
        </p:spPr>
        <p:txBody>
          <a:bodyPr wrap="square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CH" dirty="0">
                <a:solidFill>
                  <a:srgbClr val="FFFFFF"/>
                </a:solidFill>
              </a:rPr>
              <a:t>Lifecycle</a:t>
            </a:r>
            <a:r>
              <a:rPr lang="de-CH" dirty="0"/>
              <a:t> </a:t>
            </a:r>
            <a:r>
              <a:rPr lang="de-CH" dirty="0" err="1"/>
              <a:t>callbacks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8" name="Inhaltsplatzhalter 77"/>
          <p:cNvSpPr>
            <a:spLocks noGrp="1"/>
          </p:cNvSpPr>
          <p:nvPr>
            <p:ph type="body" sz="quarter" idx="14"/>
          </p:nvPr>
        </p:nvSpPr>
        <p:spPr>
          <a:xfrm>
            <a:off x="273050" y="1128919"/>
            <a:ext cx="8335363" cy="3377767"/>
          </a:xfrm>
        </p:spPr>
        <p:txBody>
          <a:bodyPr vert="horz" lIns="0" tIns="36000" rIns="0" bIns="36000" rtlCol="0" anchor="t">
            <a:noAutofit/>
          </a:bodyPr>
          <a:lstStyle/>
          <a:p>
            <a:pPr>
              <a:buFont typeface="Arial"/>
              <a:buChar char="•"/>
            </a:pPr>
            <a:r>
              <a:rPr lang="en-US" sz="1400" err="1">
                <a:latin typeface="Consolas"/>
                <a:ea typeface="+mn-lt"/>
                <a:cs typeface="+mn-lt"/>
              </a:rPr>
              <a:t>connectedCallback</a:t>
            </a:r>
            <a:r>
              <a:rPr lang="en-US" sz="1400">
                <a:ea typeface="+mn-lt"/>
                <a:cs typeface="+mn-lt"/>
              </a:rPr>
              <a:t>: </a:t>
            </a:r>
            <a:br>
              <a:rPr lang="en-US" sz="1400">
                <a:ea typeface="+mn-lt"/>
                <a:cs typeface="+mn-lt"/>
              </a:rPr>
            </a:br>
            <a:r>
              <a:rPr lang="en-US" sz="1400">
                <a:ea typeface="+mn-lt"/>
                <a:cs typeface="+mn-lt"/>
              </a:rPr>
              <a:t>Invoked when the custom element is first connected to the document's DOM.</a:t>
            </a:r>
          </a:p>
          <a:p>
            <a:pPr>
              <a:buFont typeface="Arial"/>
              <a:buChar char="•"/>
            </a:pPr>
            <a:endParaRPr lang="en-US" sz="1400">
              <a:latin typeface="Arial"/>
              <a:ea typeface="+mn-lt"/>
              <a:cs typeface="+mn-lt"/>
            </a:endParaRPr>
          </a:p>
          <a:p>
            <a:pPr>
              <a:buFont typeface="Arial"/>
              <a:buChar char="•"/>
            </a:pPr>
            <a:r>
              <a:rPr lang="en-US" sz="1400" err="1">
                <a:latin typeface="Consolas"/>
                <a:ea typeface="+mn-lt"/>
                <a:cs typeface="+mn-lt"/>
              </a:rPr>
              <a:t>disconnectedCallback</a:t>
            </a:r>
            <a:r>
              <a:rPr lang="en-US" sz="1400">
                <a:ea typeface="+mn-lt"/>
                <a:cs typeface="+mn-lt"/>
              </a:rPr>
              <a:t>:</a:t>
            </a:r>
            <a:br>
              <a:rPr lang="en-US" sz="1400">
                <a:ea typeface="+mn-lt"/>
                <a:cs typeface="+mn-lt"/>
              </a:rPr>
            </a:br>
            <a:r>
              <a:rPr lang="en-US" sz="1400">
                <a:ea typeface="+mn-lt"/>
                <a:cs typeface="+mn-lt"/>
              </a:rPr>
              <a:t>Invoked when the custom element is disconnected from the document's DOM.</a:t>
            </a:r>
            <a:endParaRPr lang="en-US" sz="1400"/>
          </a:p>
          <a:p>
            <a:pPr marL="0" indent="0">
              <a:buNone/>
            </a:pPr>
            <a:endParaRPr lang="en-US" sz="1400">
              <a:latin typeface="Consolas"/>
              <a:ea typeface="+mn-lt"/>
              <a:cs typeface="+mn-lt"/>
            </a:endParaRPr>
          </a:p>
          <a:p>
            <a:pPr>
              <a:buFont typeface="Arial"/>
              <a:buChar char="•"/>
            </a:pPr>
            <a:r>
              <a:rPr lang="en-US" sz="1400" err="1">
                <a:latin typeface="Consolas"/>
                <a:ea typeface="+mn-lt"/>
                <a:cs typeface="+mn-lt"/>
              </a:rPr>
              <a:t>attributeChangedCallback</a:t>
            </a:r>
            <a:r>
              <a:rPr lang="en-US" sz="1400">
                <a:ea typeface="+mn-lt"/>
                <a:cs typeface="+mn-lt"/>
              </a:rPr>
              <a:t>:</a:t>
            </a:r>
            <a:br>
              <a:rPr lang="en-US" sz="1400">
                <a:ea typeface="+mn-lt"/>
                <a:cs typeface="+mn-lt"/>
              </a:rPr>
            </a:br>
            <a:r>
              <a:rPr lang="en-US" sz="1400">
                <a:ea typeface="+mn-lt"/>
                <a:cs typeface="+mn-lt"/>
              </a:rPr>
              <a:t>Invoked when the custom element is moved to a new document.</a:t>
            </a:r>
            <a:endParaRPr lang="en-US" sz="1400"/>
          </a:p>
          <a:p>
            <a:pPr>
              <a:buFont typeface="Arial"/>
              <a:buChar char="•"/>
            </a:pPr>
            <a:endParaRPr lang="en-US" sz="1400">
              <a:ea typeface="+mn-lt"/>
              <a:cs typeface="+mn-lt"/>
            </a:endParaRPr>
          </a:p>
          <a:p>
            <a:pPr>
              <a:buFont typeface="Arial"/>
              <a:buChar char="•"/>
            </a:pPr>
            <a:r>
              <a:rPr lang="en-US" sz="1400" err="1">
                <a:latin typeface="Consolas"/>
                <a:ea typeface="+mn-lt"/>
                <a:cs typeface="+mn-lt"/>
              </a:rPr>
              <a:t>adoptedCallback</a:t>
            </a:r>
            <a:r>
              <a:rPr lang="en-US" sz="1400">
                <a:ea typeface="+mn-lt"/>
                <a:cs typeface="+mn-lt"/>
              </a:rPr>
              <a:t>: </a:t>
            </a:r>
            <a:br>
              <a:rPr lang="en-US" sz="1400">
                <a:ea typeface="+mn-lt"/>
                <a:cs typeface="+mn-lt"/>
              </a:rPr>
            </a:br>
            <a:r>
              <a:rPr lang="en-US" sz="1400">
                <a:ea typeface="+mn-lt"/>
                <a:cs typeface="+mn-lt"/>
              </a:rPr>
              <a:t>Invoked when one of the custom element's attributes is added, removed, or changed.</a:t>
            </a:r>
            <a:endParaRPr lang="en-US" sz="1400"/>
          </a:p>
          <a:p>
            <a:pPr>
              <a:buFont typeface="Arial"/>
              <a:buChar char="•"/>
            </a:pPr>
            <a:endParaRPr lang="en-US" sz="1400">
              <a:ea typeface="+mn-lt"/>
              <a:cs typeface="+mn-lt"/>
            </a:endParaRPr>
          </a:p>
        </p:txBody>
      </p:sp>
      <p:sp>
        <p:nvSpPr>
          <p:cNvPr id="79" name="Textplatzhalter 78"/>
          <p:cNvSpPr>
            <a:spLocks noGrp="1"/>
          </p:cNvSpPr>
          <p:nvPr>
            <p:ph type="body" sz="quarter" idx="17"/>
          </p:nvPr>
        </p:nvSpPr>
        <p:spPr>
          <a:xfrm>
            <a:off x="273599" y="729162"/>
            <a:ext cx="1946466" cy="318924"/>
          </a:xfrm>
        </p:spPr>
        <p:txBody>
          <a:bodyPr wrap="none">
            <a:normAutofit/>
          </a:bodyPr>
          <a:lstStyle/>
          <a:p>
            <a:r>
              <a:rPr lang="de-CH"/>
              <a:t>Concept and </a:t>
            </a:r>
            <a:r>
              <a:rPr lang="de-CH" err="1"/>
              <a:t>Usage</a:t>
            </a:r>
            <a:endParaRPr lang="de-DE" err="1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8814736" y="6640612"/>
            <a:ext cx="688744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fld id="{26A20EF0-1EC0-473F-8145-0A026E7A2EFE}" type="datetime1">
              <a:rPr lang="de-CH" smtClean="0"/>
              <a:pPr>
                <a:spcAft>
                  <a:spcPts val="600"/>
                </a:spcAft>
              </a:pPr>
              <a:t>04.05.2021</a:t>
            </a:fld>
            <a:endParaRPr lang="de-CH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9347942" y="6640612"/>
            <a:ext cx="285578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de-CH"/>
              <a:t>| 3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1086602" y="6642002"/>
            <a:ext cx="5940000" cy="123111"/>
          </a:xfrm>
        </p:spPr>
        <p:txBody>
          <a:bodyPr wrap="square">
            <a:normAutofit/>
          </a:bodyPr>
          <a:lstStyle/>
          <a:p>
            <a:pPr>
              <a:spcAft>
                <a:spcPts val="600"/>
              </a:spcAft>
            </a:pPr>
            <a:r>
              <a:rPr lang="de-CH" noProof="0"/>
              <a:t>Migros-Genossenschafts-Bund | MES – Migros Engineering Solutions | Master Power Point Vorlagen</a:t>
            </a:r>
          </a:p>
        </p:txBody>
      </p:sp>
    </p:spTree>
    <p:extLst>
      <p:ext uri="{BB962C8B-B14F-4D97-AF65-F5344CB8AC3E}">
        <p14:creationId xmlns:p14="http://schemas.microsoft.com/office/powerpoint/2010/main" val="233801688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2.9200.0"/>
  <p:tag name="AS_RELEASE_DATE" val="2017.08.21"/>
  <p:tag name="AS_TITLE" val="Aspose.Slides for .NET 4.0"/>
  <p:tag name="AS_VERSION" val="17.8"/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'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'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gros Vorlage Plenum">
  <a:themeElements>
    <a:clrScheme name="M-Farbwelt 2017">
      <a:dk1>
        <a:srgbClr val="000000"/>
      </a:dk1>
      <a:lt1>
        <a:srgbClr val="FFFFFF"/>
      </a:lt1>
      <a:dk2>
        <a:srgbClr val="BCA89E"/>
      </a:dk2>
      <a:lt2>
        <a:srgbClr val="EAEAEA"/>
      </a:lt2>
      <a:accent1>
        <a:srgbClr val="FF6600"/>
      </a:accent1>
      <a:accent2>
        <a:srgbClr val="FFC000"/>
      </a:accent2>
      <a:accent3>
        <a:srgbClr val="C00000"/>
      </a:accent3>
      <a:accent4>
        <a:srgbClr val="3BA71C"/>
      </a:accent4>
      <a:accent5>
        <a:srgbClr val="18498C"/>
      </a:accent5>
      <a:accent6>
        <a:srgbClr val="00AECF"/>
      </a:accent6>
      <a:hlink>
        <a:srgbClr val="0000CD"/>
      </a:hlink>
      <a:folHlink>
        <a:srgbClr val="0000CD"/>
      </a:folHlink>
    </a:clrScheme>
    <a:fontScheme name="_Praesentation_PPT_Vorlage_D_1_14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>
          <a:solidFill>
            <a:schemeClr val="tx1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975" indent="-180975" algn="l">
          <a:buClr>
            <a:schemeClr val="accent1"/>
          </a:buClr>
          <a:buFont typeface="Arial" panose="020B0604020202020204" pitchFamily="34" charset="0"/>
          <a:buChar char="•"/>
          <a:defRPr sz="1400" dirty="0" err="1" smtClean="0"/>
        </a:defPPr>
      </a:lstStyle>
    </a:spDef>
    <a:lnDef>
      <a:spPr>
        <a:ln w="12700"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lIns="36000" tIns="0" rIns="36000" bIns="0" rtlCol="0">
        <a:spAutoFit/>
      </a:bodyPr>
      <a:lstStyle>
        <a:defPPr marL="180975" indent="-180975">
          <a:spcAft>
            <a:spcPts val="0"/>
          </a:spcAft>
          <a:buClr>
            <a:schemeClr val="accent1"/>
          </a:buClr>
          <a:buFont typeface="Arial" panose="020B0604020202020204" pitchFamily="34" charset="0"/>
          <a:buChar char="•"/>
          <a:defRPr sz="1600" kern="0" dirty="0" err="1" smtClean="0">
            <a:solidFill>
              <a:srgbClr val="000000"/>
            </a:solidFill>
            <a:latin typeface="Arial"/>
          </a:defRPr>
        </a:defPPr>
      </a:lstStyle>
    </a:txDef>
  </a:objectDefaults>
  <a:extraClrSchemeLst>
    <a:extraClrScheme>
      <a:clrScheme name="_Praesentation_PPT_Vorlage_D_1_14 1">
        <a:dk1>
          <a:srgbClr val="000000"/>
        </a:dk1>
        <a:lt1>
          <a:srgbClr val="FFFFFF"/>
        </a:lt1>
        <a:dk2>
          <a:srgbClr val="FF6600"/>
        </a:dk2>
        <a:lt2>
          <a:srgbClr val="CFBFB8"/>
        </a:lt2>
        <a:accent1>
          <a:srgbClr val="FFE67F"/>
        </a:accent1>
        <a:accent2>
          <a:srgbClr val="FFB300"/>
        </a:accent2>
        <a:accent3>
          <a:srgbClr val="FFFFFF"/>
        </a:accent3>
        <a:accent4>
          <a:srgbClr val="000000"/>
        </a:accent4>
        <a:accent5>
          <a:srgbClr val="FFF0C0"/>
        </a:accent5>
        <a:accent6>
          <a:srgbClr val="E7A200"/>
        </a:accent6>
        <a:hlink>
          <a:srgbClr val="FF66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_Praesentation_PPT_Vorlage_D_1_14 2">
        <a:dk1>
          <a:srgbClr val="000000"/>
        </a:dk1>
        <a:lt1>
          <a:srgbClr val="FFFFFF"/>
        </a:lt1>
        <a:dk2>
          <a:srgbClr val="000000"/>
        </a:dk2>
        <a:lt2>
          <a:srgbClr val="919191"/>
        </a:lt2>
        <a:accent1>
          <a:srgbClr val="464646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B0B0B0"/>
        </a:accent5>
        <a:accent6>
          <a:srgbClr val="C4C4C4"/>
        </a:accent6>
        <a:hlink>
          <a:srgbClr val="6E6E6E"/>
        </a:hlink>
        <a:folHlink>
          <a:srgbClr val="B5B5B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otx" id="{FC2E3B95-5635-4AE9-8032-48A19700BA79}" vid="{CD1E030A-7827-4284-B63C-B298D9662DBB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29</Words>
  <Application>Microsoft Office PowerPoint</Application>
  <PresentationFormat>A4-Papier (210 x 297 mm)</PresentationFormat>
  <Paragraphs>177</Paragraphs>
  <Slides>13</Slides>
  <Notes>1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0" baseType="lpstr">
      <vt:lpstr>Arial Unicode MS</vt:lpstr>
      <vt:lpstr>Arial</vt:lpstr>
      <vt:lpstr>Arial,Sans-Serif</vt:lpstr>
      <vt:lpstr>Consolas</vt:lpstr>
      <vt:lpstr>Times</vt:lpstr>
      <vt:lpstr>Migros Vorlage Plenum</vt:lpstr>
      <vt:lpstr>think-cell Folie</vt:lpstr>
      <vt:lpstr>PowerPoint-Präsentation</vt:lpstr>
      <vt:lpstr>Timeline</vt:lpstr>
      <vt:lpstr>Recap</vt:lpstr>
      <vt:lpstr>Shadow DOM</vt:lpstr>
      <vt:lpstr>CSS pseudo klassen &amp; variabeln</vt:lpstr>
      <vt:lpstr>Templates</vt:lpstr>
      <vt:lpstr>Slots</vt:lpstr>
      <vt:lpstr>Slots</vt:lpstr>
      <vt:lpstr>Lifecycle callbacks</vt:lpstr>
      <vt:lpstr>Web Components - JS Frameworks</vt:lpstr>
      <vt:lpstr>Web Components - JS Frameworks</vt:lpstr>
      <vt:lpstr>Q &amp; A</vt:lpstr>
      <vt:lpstr>Links</vt:lpstr>
    </vt:vector>
  </TitlesOfParts>
  <Manager>Stephan.Schmid@mgb.ch</Manager>
  <Company>MG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erger, Valentin-MGB</dc:creator>
  <cp:lastModifiedBy>Berger, Valentin-MGB</cp:lastModifiedBy>
  <cp:revision>8</cp:revision>
  <cp:lastPrinted>2016-09-07T07:40:01Z</cp:lastPrinted>
  <dcterms:created xsi:type="dcterms:W3CDTF">2021-03-10T13:27:03Z</dcterms:created>
  <dcterms:modified xsi:type="dcterms:W3CDTF">2021-05-04T11:51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INKTEK-FILE-ID">
    <vt:lpwstr>0159-5289-581A-D8A5</vt:lpwstr>
  </property>
  <property fmtid="{D5CDD505-2E9C-101B-9397-08002B2CF9AE}" pid="3" name="MSIP_Label_4bad0d50-9cbb-471c-bae7-38b20ec0f1f9_Enabled">
    <vt:lpwstr>true</vt:lpwstr>
  </property>
  <property fmtid="{D5CDD505-2E9C-101B-9397-08002B2CF9AE}" pid="4" name="MSIP_Label_4bad0d50-9cbb-471c-bae7-38b20ec0f1f9_SetDate">
    <vt:lpwstr>2021-03-10T13:27:06Z</vt:lpwstr>
  </property>
  <property fmtid="{D5CDD505-2E9C-101B-9397-08002B2CF9AE}" pid="5" name="MSIP_Label_4bad0d50-9cbb-471c-bae7-38b20ec0f1f9_Method">
    <vt:lpwstr>Standard</vt:lpwstr>
  </property>
  <property fmtid="{D5CDD505-2E9C-101B-9397-08002B2CF9AE}" pid="6" name="MSIP_Label_4bad0d50-9cbb-471c-bae7-38b20ec0f1f9_Name">
    <vt:lpwstr>Intern</vt:lpwstr>
  </property>
  <property fmtid="{D5CDD505-2E9C-101B-9397-08002B2CF9AE}" pid="7" name="MSIP_Label_4bad0d50-9cbb-471c-bae7-38b20ec0f1f9_SiteId">
    <vt:lpwstr>35aa8c5b-ac0a-4b15-9788-ff6dfa22901f</vt:lpwstr>
  </property>
  <property fmtid="{D5CDD505-2E9C-101B-9397-08002B2CF9AE}" pid="8" name="MSIP_Label_4bad0d50-9cbb-471c-bae7-38b20ec0f1f9_ActionId">
    <vt:lpwstr>f6a82b49-8eac-49bc-88e8-3f8d2f177bda</vt:lpwstr>
  </property>
  <property fmtid="{D5CDD505-2E9C-101B-9397-08002B2CF9AE}" pid="9" name="MSIP_Label_4bad0d50-9cbb-471c-bae7-38b20ec0f1f9_ContentBits">
    <vt:lpwstr>0</vt:lpwstr>
  </property>
</Properties>
</file>